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915" r:id="rId4"/>
  </p:sldMasterIdLst>
  <p:notesMasterIdLst>
    <p:notesMasterId r:id="rId18"/>
  </p:notesMasterIdLst>
  <p:sldIdLst>
    <p:sldId id="2145707066" r:id="rId5"/>
    <p:sldId id="2145707122" r:id="rId6"/>
    <p:sldId id="2145707137" r:id="rId7"/>
    <p:sldId id="2145707136" r:id="rId8"/>
    <p:sldId id="2145707139" r:id="rId9"/>
    <p:sldId id="2145707138" r:id="rId10"/>
    <p:sldId id="2145707134" r:id="rId11"/>
    <p:sldId id="2145707140" r:id="rId12"/>
    <p:sldId id="2145707141" r:id="rId13"/>
    <p:sldId id="2145707130" r:id="rId14"/>
    <p:sldId id="2145707124" r:id="rId15"/>
    <p:sldId id="2145707131" r:id="rId16"/>
    <p:sldId id="1964" r:id="rId17"/>
  </p:sldIdLst>
  <p:sldSz cx="12192000" cy="6858000"/>
  <p:notesSz cx="6805613" cy="9939338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BE6D6636-5690-482B-8E4B-0EDDD92399A1}">
          <p14:sldIdLst>
            <p14:sldId id="2145707066"/>
            <p14:sldId id="2145707122"/>
            <p14:sldId id="2145707137"/>
            <p14:sldId id="2145707136"/>
            <p14:sldId id="2145707139"/>
            <p14:sldId id="2145707138"/>
            <p14:sldId id="2145707134"/>
            <p14:sldId id="2145707140"/>
            <p14:sldId id="2145707141"/>
            <p14:sldId id="2145707130"/>
            <p14:sldId id="2145707124"/>
            <p14:sldId id="2145707131"/>
            <p14:sldId id="1964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4805846-BB26-EF1E-15F3-ED24B229BC91}" name="Maccani, Andreas" initials="MA" userId="S::andreas.maccani@takeda.com::c8cd9160-d7fd-4bc0-9dbf-38c7aaf03855" providerId="AD"/>
  <p188:author id="{87C44BD0-C4FF-2041-E3AD-91E526D75DCA}" name="Kinastberger, Bernhard" initials="KB" userId="S::bernhard.kinastberger@takeda.com::fad9d39a-866d-47ae-94d7-f934d670516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2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FF01"/>
    <a:srgbClr val="EE1100"/>
    <a:srgbClr val="1A1918"/>
    <a:srgbClr val="BD120A"/>
    <a:srgbClr val="000000"/>
    <a:srgbClr val="450A0A"/>
    <a:srgbClr val="F78C85"/>
    <a:srgbClr val="E1242A"/>
    <a:srgbClr val="63616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27"/>
  </p:normalViewPr>
  <p:slideViewPr>
    <p:cSldViewPr snapToGrid="0">
      <p:cViewPr varScale="1">
        <p:scale>
          <a:sx n="105" d="100"/>
          <a:sy n="105" d="100"/>
        </p:scale>
        <p:origin x="138" y="222"/>
      </p:cViewPr>
      <p:guideLst>
        <p:guide pos="3840"/>
        <p:guide orient="horz" pos="21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5328" y="14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100" cy="498693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1"/>
            <a:ext cx="2949100" cy="498693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r">
              <a:defRPr sz="1200"/>
            </a:lvl1pPr>
          </a:lstStyle>
          <a:p>
            <a:fld id="{625DEF87-78CF-4C57-A0B1-A9406068048C}" type="datetimeFigureOut">
              <a:rPr lang="en-US" smtClean="0"/>
              <a:t>3/1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40" tIns="47320" rIns="94640" bIns="473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5"/>
          </a:xfrm>
          <a:prstGeom prst="rect">
            <a:avLst/>
          </a:prstGeom>
        </p:spPr>
        <p:txBody>
          <a:bodyPr vert="horz" lIns="94640" tIns="47320" rIns="94640" bIns="473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100" cy="498692"/>
          </a:xfrm>
          <a:prstGeom prst="rect">
            <a:avLst/>
          </a:prstGeom>
        </p:spPr>
        <p:txBody>
          <a:bodyPr vert="horz" lIns="94640" tIns="47320" rIns="94640" bIns="473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100" cy="498692"/>
          </a:xfrm>
          <a:prstGeom prst="rect">
            <a:avLst/>
          </a:prstGeom>
        </p:spPr>
        <p:txBody>
          <a:bodyPr vert="horz" lIns="94640" tIns="47320" rIns="94640" bIns="47320" rtlCol="0" anchor="b"/>
          <a:lstStyle>
            <a:lvl1pPr algn="r">
              <a:defRPr sz="1200"/>
            </a:lvl1pPr>
          </a:lstStyle>
          <a:p>
            <a:fld id="{49E0EA7B-6822-4EC8-8C65-EACC542A139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45919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JP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E0EA7B-6822-4EC8-8C65-EACC542A139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52875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82B9CECE-7D8F-8C4A-AFC6-A963B1F05594}"/>
              </a:ext>
            </a:extLst>
          </p:cNvPr>
          <p:cNvSpPr/>
          <p:nvPr userDrawn="1"/>
        </p:nvSpPr>
        <p:spPr>
          <a:xfrm>
            <a:off x="0" y="61263"/>
            <a:ext cx="255181" cy="849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chemeClr val="accent1"/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1E79114-5B74-9547-8292-DAB8965D43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005" y="506"/>
            <a:ext cx="11459359" cy="3428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2246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579722" y="3362246"/>
                </a:lnTo>
                <a:cubicBezTo>
                  <a:pt x="259550" y="3362246"/>
                  <a:pt x="0" y="3102696"/>
                  <a:pt x="0" y="2782524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JP" dirty="0"/>
          </a:p>
        </p:txBody>
      </p:sp>
      <p:pic>
        <p:nvPicPr>
          <p:cNvPr id="18" name="Picture 17" descr="Takeda">
            <a:extLst>
              <a:ext uri="{FF2B5EF4-FFF2-40B4-BE49-F238E27FC236}">
                <a16:creationId xmlns:a16="http://schemas.microsoft.com/office/drawing/2014/main" id="{5F9376FC-2A9F-C644-AD88-C6E1B65B4D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0516" y="3362752"/>
            <a:ext cx="2251710" cy="1248865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9F5E8E0A-41D4-8346-9248-0B9AAC7123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3956816"/>
            <a:ext cx="7699670" cy="1015681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</a:t>
            </a:r>
            <a:br>
              <a:rPr lang="en-GB" dirty="0"/>
            </a:br>
            <a:r>
              <a:rPr lang="en-GB" dirty="0"/>
              <a:t>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A63B8E-5554-A04E-B4C5-97ECEE58B6CC}"/>
              </a:ext>
            </a:extLst>
          </p:cNvPr>
          <p:cNvSpPr/>
          <p:nvPr userDrawn="1"/>
        </p:nvSpPr>
        <p:spPr>
          <a:xfrm>
            <a:off x="749005" y="3764031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2637423-F180-3943-B758-C8CCFA816E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1921" y="6357944"/>
            <a:ext cx="1958578" cy="117462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7327E43-4F43-914D-BE65-DB0ADB5A5E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94728" y="5256031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Positio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23AA60-6137-8841-B2ED-51B2F2E5C1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94728" y="5515045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B4FEAB2-22C6-3446-B4D2-5B610A729BC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94728" y="5769532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085F378-E668-A648-B7B1-8C76C309ED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94728" y="4997510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1E31EF6-BED5-C14F-94AD-4E5C55B855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4728" y="6027352"/>
            <a:ext cx="7699670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393464281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  <p15:guide id="2" orient="horz" pos="2364" userDrawn="1">
          <p15:clr>
            <a:srgbClr val="FBAE40"/>
          </p15:clr>
        </p15:guide>
        <p15:guide id="3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3BB454FD-9C16-FC47-B46E-6675394572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13726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68F3A49-7287-1C4D-93C8-50E3C0B4F1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99967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21" name="Footer Placeholder 8">
            <a:extLst>
              <a:ext uri="{FF2B5EF4-FFF2-40B4-BE49-F238E27FC236}">
                <a16:creationId xmlns:a16="http://schemas.microsoft.com/office/drawing/2014/main" id="{519BC59F-4516-0043-8BAC-F9FE45B6A9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0E2D4ABB-BC5B-754B-B0DE-676246A385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4" name="タイトル プレースホルダ 1">
            <a:extLst>
              <a:ext uri="{FF2B5EF4-FFF2-40B4-BE49-F238E27FC236}">
                <a16:creationId xmlns:a16="http://schemas.microsoft.com/office/drawing/2014/main" id="{CC986DF6-9894-F144-B9DA-A9DBE0000A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6528CE-2840-6C44-965A-04D8835743E3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7" name="スライド番号プレースホルダ 5">
            <a:extLst>
              <a:ext uri="{FF2B5EF4-FFF2-40B4-BE49-F238E27FC236}">
                <a16:creationId xmlns:a16="http://schemas.microsoft.com/office/drawing/2014/main" id="{854E474F-30B0-604E-9699-287AC57CAA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Nr.›</a:t>
            </a:fld>
            <a:endParaRPr lang="ja-JP" altLang="en-US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C9681050-C142-4F4F-B3C6-6F52F3C55C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0504E2-40F0-054E-8424-D247EF2CA2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11569700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73E75F2-7FFB-DC4C-8964-799372FCF5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11569700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1306322833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B3311DE3-EC35-4C49-805E-57AB2D90E9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10743" y="1093767"/>
            <a:ext cx="7988356" cy="5322908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88356" h="5135028">
                <a:moveTo>
                  <a:pt x="0" y="0"/>
                </a:moveTo>
                <a:lnTo>
                  <a:pt x="7988281" y="7569"/>
                </a:lnTo>
                <a:cubicBezTo>
                  <a:pt x="7989186" y="2154376"/>
                  <a:pt x="7981645" y="2988221"/>
                  <a:pt x="7982550" y="5135028"/>
                </a:cubicBezTo>
                <a:lnTo>
                  <a:pt x="596656" y="5124807"/>
                </a:lnTo>
                <a:cubicBezTo>
                  <a:pt x="276484" y="5124807"/>
                  <a:pt x="16934" y="4865257"/>
                  <a:pt x="16934" y="4545085"/>
                </a:cubicBezTo>
                <a:cubicBezTo>
                  <a:pt x="11289" y="3022648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3751966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3751966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E4ACE247-6DA5-F044-A880-12BDFE1490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1397373C-4723-444D-99E3-0FBCAFDAD4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1545CFCD-ABA6-1349-9917-1DDD2762C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7730F84-B57E-C441-B81C-A0677388FA64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78815F79-70B9-A343-88C1-1B41F15106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Nr.›</a:t>
            </a:fld>
            <a:endParaRPr lang="ja-JP" altLang="en-US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6ACFB15D-3880-FB46-8B5A-E057FE4C9B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F3CD883-F623-E54C-A27A-38B7EB9570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375196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2D601E3-CC68-7845-AAF4-3AD141198B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375196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848965478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2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DA0F537B-2380-C640-8119-936AD77864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85454" y="-5494"/>
            <a:ext cx="6024384" cy="6863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4384"/>
              <a:gd name="connsiteY0" fmla="*/ 0 h 6857810"/>
              <a:gd name="connsiteX1" fmla="*/ 6015601 w 6024384"/>
              <a:gd name="connsiteY1" fmla="*/ 1730351 h 6857810"/>
              <a:gd name="connsiteX2" fmla="*/ 6024384 w 6024384"/>
              <a:gd name="connsiteY2" fmla="*/ 6857810 h 6857810"/>
              <a:gd name="connsiteX3" fmla="*/ 583404 w 6024384"/>
              <a:gd name="connsiteY3" fmla="*/ 6847589 h 6857810"/>
              <a:gd name="connsiteX4" fmla="*/ 3682 w 6024384"/>
              <a:gd name="connsiteY4" fmla="*/ 6267867 h 6857810"/>
              <a:gd name="connsiteX5" fmla="*/ 0 w 6024384"/>
              <a:gd name="connsiteY5" fmla="*/ 0 h 6857810"/>
              <a:gd name="connsiteX0" fmla="*/ 0 w 6024384"/>
              <a:gd name="connsiteY0" fmla="*/ 5684 h 6863494"/>
              <a:gd name="connsiteX1" fmla="*/ 6002349 w 6024384"/>
              <a:gd name="connsiteY1" fmla="*/ 0 h 6863494"/>
              <a:gd name="connsiteX2" fmla="*/ 6024384 w 6024384"/>
              <a:gd name="connsiteY2" fmla="*/ 6863494 h 6863494"/>
              <a:gd name="connsiteX3" fmla="*/ 583404 w 6024384"/>
              <a:gd name="connsiteY3" fmla="*/ 6853273 h 6863494"/>
              <a:gd name="connsiteX4" fmla="*/ 3682 w 6024384"/>
              <a:gd name="connsiteY4" fmla="*/ 6273551 h 6863494"/>
              <a:gd name="connsiteX5" fmla="*/ 0 w 6024384"/>
              <a:gd name="connsiteY5" fmla="*/ 5684 h 6863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24384" h="6863494">
                <a:moveTo>
                  <a:pt x="0" y="5684"/>
                </a:moveTo>
                <a:lnTo>
                  <a:pt x="6002349" y="0"/>
                </a:lnTo>
                <a:cubicBezTo>
                  <a:pt x="6003254" y="2146807"/>
                  <a:pt x="6023479" y="4716687"/>
                  <a:pt x="6024384" y="6863494"/>
                </a:cubicBezTo>
                <a:lnTo>
                  <a:pt x="583404" y="6853273"/>
                </a:lnTo>
                <a:cubicBezTo>
                  <a:pt x="263232" y="6853273"/>
                  <a:pt x="3682" y="6593723"/>
                  <a:pt x="3682" y="6273551"/>
                </a:cubicBezTo>
                <a:cubicBezTo>
                  <a:pt x="-1963" y="4751114"/>
                  <a:pt x="5645" y="1528121"/>
                  <a:pt x="0" y="5684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5708650" cy="2859620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86D6FEA8-06E4-474A-8491-CD1DDAE7D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9" y="161605"/>
            <a:ext cx="5413722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DBCF76-3461-2245-8BB1-FA50AE27F6CA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FB98B4FE-9AC1-D142-89B5-4D3791685B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Nr.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D5A74AA-F0D3-9243-967D-FEA6F7A20B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5413722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16C870C-B0F9-5A43-81FD-66BD75CC33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5704886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C64E591A-1A88-9244-AC81-5B42BFE347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5704886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3678310869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7660042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7663807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36961" y="1093767"/>
            <a:ext cx="4069500" cy="5331536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9500" h="5131753">
                <a:moveTo>
                  <a:pt x="0" y="6946"/>
                </a:moveTo>
                <a:lnTo>
                  <a:pt x="4069425" y="0"/>
                </a:lnTo>
                <a:cubicBezTo>
                  <a:pt x="4070330" y="2146807"/>
                  <a:pt x="4062788" y="2966138"/>
                  <a:pt x="4063693" y="5112945"/>
                </a:cubicBezTo>
                <a:lnTo>
                  <a:pt x="596656" y="5131753"/>
                </a:lnTo>
                <a:cubicBezTo>
                  <a:pt x="276484" y="5131753"/>
                  <a:pt x="16934" y="4872203"/>
                  <a:pt x="16934" y="4552031"/>
                </a:cubicBezTo>
                <a:cubicBezTo>
                  <a:pt x="11289" y="3029594"/>
                  <a:pt x="5645" y="1529383"/>
                  <a:pt x="0" y="6946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334C6D4B-D00D-0346-BC97-8DCE371C28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CCEDFD04-9A53-9241-851E-1D01DC555A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1E1D8887-7EAE-1A40-9285-7C632FEAA8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65B3EBD-E4F5-8E40-B07A-C04F3B1E7F2C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6" name="スライド番号プレースホルダ 5">
            <a:extLst>
              <a:ext uri="{FF2B5EF4-FFF2-40B4-BE49-F238E27FC236}">
                <a16:creationId xmlns:a16="http://schemas.microsoft.com/office/drawing/2014/main" id="{3D5D14EF-A351-224D-8142-E1BEE44BBC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Nr.›</a:t>
            </a:fld>
            <a:endParaRPr lang="ja-JP" altLang="en-US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4D0A49B6-0BCC-C545-BF97-504B63062F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82FCE78-36AB-904B-98A8-CE3FFB1555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7660041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2ECF95F-F25E-8248-A0F3-BB1749A1B4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49" y="1093767"/>
            <a:ext cx="7660041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551311237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3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7663807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3708" y="-1378"/>
            <a:ext cx="4076946" cy="6860842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  <a:gd name="connsiteX0" fmla="*/ 0 w 4082753"/>
              <a:gd name="connsiteY0" fmla="*/ 2 h 6874096"/>
              <a:gd name="connsiteX1" fmla="*/ 4082678 w 4082753"/>
              <a:gd name="connsiteY1" fmla="*/ 1742343 h 6874096"/>
              <a:gd name="connsiteX2" fmla="*/ 4076946 w 4082753"/>
              <a:gd name="connsiteY2" fmla="*/ 6855288 h 6874096"/>
              <a:gd name="connsiteX3" fmla="*/ 609909 w 4082753"/>
              <a:gd name="connsiteY3" fmla="*/ 6874096 h 6874096"/>
              <a:gd name="connsiteX4" fmla="*/ 30187 w 4082753"/>
              <a:gd name="connsiteY4" fmla="*/ 6294374 h 6874096"/>
              <a:gd name="connsiteX5" fmla="*/ 0 w 4082753"/>
              <a:gd name="connsiteY5" fmla="*/ 2 h 6874096"/>
              <a:gd name="connsiteX0" fmla="*/ 0 w 4095958"/>
              <a:gd name="connsiteY0" fmla="*/ 6946 h 6881040"/>
              <a:gd name="connsiteX1" fmla="*/ 4095930 w 4095958"/>
              <a:gd name="connsiteY1" fmla="*/ 0 h 6881040"/>
              <a:gd name="connsiteX2" fmla="*/ 4076946 w 4095958"/>
              <a:gd name="connsiteY2" fmla="*/ 6862232 h 6881040"/>
              <a:gd name="connsiteX3" fmla="*/ 609909 w 4095958"/>
              <a:gd name="connsiteY3" fmla="*/ 6881040 h 6881040"/>
              <a:gd name="connsiteX4" fmla="*/ 30187 w 4095958"/>
              <a:gd name="connsiteY4" fmla="*/ 6301318 h 6881040"/>
              <a:gd name="connsiteX5" fmla="*/ 0 w 4095958"/>
              <a:gd name="connsiteY5" fmla="*/ 6946 h 6881040"/>
              <a:gd name="connsiteX0" fmla="*/ 0 w 4076946"/>
              <a:gd name="connsiteY0" fmla="*/ 0 h 6874094"/>
              <a:gd name="connsiteX1" fmla="*/ 3870643 w 4076946"/>
              <a:gd name="connsiteY1" fmla="*/ 191837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0 h 6874094"/>
              <a:gd name="connsiteX1" fmla="*/ 4069426 w 4076946"/>
              <a:gd name="connsiteY1" fmla="*/ 19559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99710 h 6854535"/>
              <a:gd name="connsiteX1" fmla="*/ 4069426 w 4076946"/>
              <a:gd name="connsiteY1" fmla="*/ 0 h 6854535"/>
              <a:gd name="connsiteX2" fmla="*/ 4076946 w 4076946"/>
              <a:gd name="connsiteY2" fmla="*/ 6835727 h 6854535"/>
              <a:gd name="connsiteX3" fmla="*/ 609909 w 4076946"/>
              <a:gd name="connsiteY3" fmla="*/ 6854535 h 6854535"/>
              <a:gd name="connsiteX4" fmla="*/ 30187 w 4076946"/>
              <a:gd name="connsiteY4" fmla="*/ 6274813 h 6854535"/>
              <a:gd name="connsiteX5" fmla="*/ 0 w 4076946"/>
              <a:gd name="connsiteY5" fmla="*/ 99710 h 6854535"/>
              <a:gd name="connsiteX0" fmla="*/ 0 w 4076946"/>
              <a:gd name="connsiteY0" fmla="*/ 0 h 6860842"/>
              <a:gd name="connsiteX1" fmla="*/ 4069426 w 4076946"/>
              <a:gd name="connsiteY1" fmla="*/ 6307 h 6860842"/>
              <a:gd name="connsiteX2" fmla="*/ 4076946 w 4076946"/>
              <a:gd name="connsiteY2" fmla="*/ 6842034 h 6860842"/>
              <a:gd name="connsiteX3" fmla="*/ 609909 w 4076946"/>
              <a:gd name="connsiteY3" fmla="*/ 6860842 h 6860842"/>
              <a:gd name="connsiteX4" fmla="*/ 30187 w 4076946"/>
              <a:gd name="connsiteY4" fmla="*/ 6281120 h 6860842"/>
              <a:gd name="connsiteX5" fmla="*/ 0 w 4076946"/>
              <a:gd name="connsiteY5" fmla="*/ 0 h 686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6946" h="6860842">
                <a:moveTo>
                  <a:pt x="0" y="0"/>
                </a:moveTo>
                <a:lnTo>
                  <a:pt x="4069426" y="6307"/>
                </a:lnTo>
                <a:cubicBezTo>
                  <a:pt x="4070331" y="2153114"/>
                  <a:pt x="4076041" y="4695227"/>
                  <a:pt x="4076946" y="6842034"/>
                </a:cubicBezTo>
                <a:lnTo>
                  <a:pt x="609909" y="6860842"/>
                </a:lnTo>
                <a:cubicBezTo>
                  <a:pt x="289737" y="6860842"/>
                  <a:pt x="30187" y="6601292"/>
                  <a:pt x="30187" y="6281120"/>
                </a:cubicBezTo>
                <a:cubicBezTo>
                  <a:pt x="24542" y="4758683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6FB24DD6-99CB-CE43-A787-C9F60DC95F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9" y="161605"/>
            <a:ext cx="7368878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130E5B-E573-584B-8C83-F8409492B14B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1" name="スライド番号プレースホルダ 5">
            <a:extLst>
              <a:ext uri="{FF2B5EF4-FFF2-40B4-BE49-F238E27FC236}">
                <a16:creationId xmlns:a16="http://schemas.microsoft.com/office/drawing/2014/main" id="{C55CC856-2ADD-F44F-96B6-03734457C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Nr.›</a:t>
            </a:fld>
            <a:endParaRPr lang="ja-JP" alt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B94AACD-56D4-F146-AFC0-5CBE6630C5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3A8AA34-7C7D-A24F-AF24-5158DD2AB0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7660042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4B55CE-CF3E-7E44-A66A-599621CA5C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7660042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2890663235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Image 4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21DF8897-54F9-C24F-8261-0C5418827A6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110737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JP" dirty="0"/>
              <a:t>Insert Picture/Text Block</a:t>
            </a:r>
          </a:p>
          <a:p>
            <a:endParaRPr lang="en-JP" dirty="0"/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8D6B3691-FCAC-8A46-AA30-DEB2A719C7B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11373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icture/Text Block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AA8F528A-C9DE-0B46-881A-43E0F9B6F67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244494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icture/Text Block</a:t>
            </a:r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E01CF285-75D7-154A-ACF2-9393FB0B38D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77615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/Text Block</a:t>
            </a:r>
          </a:p>
          <a:p>
            <a:endParaRPr lang="en-US" dirty="0"/>
          </a:p>
          <a:p>
            <a:endParaRPr lang="en-JP" dirty="0"/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47FD433F-488A-9D46-BDF0-87D0F082AE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8" name="タイトル プレースホルダ 1">
            <a:extLst>
              <a:ext uri="{FF2B5EF4-FFF2-40B4-BE49-F238E27FC236}">
                <a16:creationId xmlns:a16="http://schemas.microsoft.com/office/drawing/2014/main" id="{4FBB8310-69E6-7C4E-A4B1-C022B6FEE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7" name="Footer Placeholder 8">
            <a:extLst>
              <a:ext uri="{FF2B5EF4-FFF2-40B4-BE49-F238E27FC236}">
                <a16:creationId xmlns:a16="http://schemas.microsoft.com/office/drawing/2014/main" id="{4EF39473-C435-3C4E-9C7B-048D52C3CC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 </a:t>
            </a:r>
            <a:endParaRPr lang="en-JP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EF9AE6-D84E-9F43-9506-6676EC51B210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8" name="スライド番号プレースホルダ 5">
            <a:extLst>
              <a:ext uri="{FF2B5EF4-FFF2-40B4-BE49-F238E27FC236}">
                <a16:creationId xmlns:a16="http://schemas.microsoft.com/office/drawing/2014/main" id="{F964ADE6-9B0D-EC45-959C-FEEA5CDDFB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Nr.›</a:t>
            </a:fld>
            <a:endParaRPr lang="ja-JP" altLang="en-US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70D8562-3CE7-7044-9BB0-2068A81BF5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9C450B-0755-7D4A-9672-E700D6F2E5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05B1BEB-AC9F-9643-A446-ABE1DDB961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2804114049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09223" y="3076286"/>
            <a:ext cx="11571628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pic>
        <p:nvPicPr>
          <p:cNvPr id="11" name="Picture 10" descr="Takeda">
            <a:extLst>
              <a:ext uri="{FF2B5EF4-FFF2-40B4-BE49-F238E27FC236}">
                <a16:creationId xmlns:a16="http://schemas.microsoft.com/office/drawing/2014/main" id="{7EBA21A8-EE4B-6E4B-A794-3FEA5B1599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75E45CD2-2EBD-AE47-837E-9F752C565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7" name="Footer Placeholder 8">
            <a:extLst>
              <a:ext uri="{FF2B5EF4-FFF2-40B4-BE49-F238E27FC236}">
                <a16:creationId xmlns:a16="http://schemas.microsoft.com/office/drawing/2014/main" id="{2DC26CE8-1DEF-EE42-861C-B0406E8DC2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36966D-3DF0-4D41-9D26-4860D147F807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3" name="スライド番号プレースホルダ 5">
            <a:extLst>
              <a:ext uri="{FF2B5EF4-FFF2-40B4-BE49-F238E27FC236}">
                <a16:creationId xmlns:a16="http://schemas.microsoft.com/office/drawing/2014/main" id="{600920FB-2D44-F645-865D-89FFECB095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Nr.›</a:t>
            </a:fld>
            <a:endParaRPr lang="ja-JP" altLang="en-US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7DE8F7E-1418-1C4C-A62B-2385714992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28A960D-6A45-6744-9BDB-7070B443CC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1493179-5EA4-604B-A9DF-BDA818F016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1354790208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227225" y="1093767"/>
            <a:ext cx="7653625" cy="532290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EF65D74B-37DA-0D46-8B56-9B362C84E6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3751966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F5F6A26-5AAA-884F-A319-DE9881530A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3751966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</a:t>
            </a:r>
          </a:p>
        </p:txBody>
      </p:sp>
      <p:pic>
        <p:nvPicPr>
          <p:cNvPr id="12" name="Picture 11" descr="Takeda">
            <a:extLst>
              <a:ext uri="{FF2B5EF4-FFF2-40B4-BE49-F238E27FC236}">
                <a16:creationId xmlns:a16="http://schemas.microsoft.com/office/drawing/2014/main" id="{5D7AA9CA-E651-9E48-B0F3-BDDA45B353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3" name="タイトル プレースホルダ 1">
            <a:extLst>
              <a:ext uri="{FF2B5EF4-FFF2-40B4-BE49-F238E27FC236}">
                <a16:creationId xmlns:a16="http://schemas.microsoft.com/office/drawing/2014/main" id="{2256F400-EDA8-7F44-BF13-278518497C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5" name="Footer Placeholder 8">
            <a:extLst>
              <a:ext uri="{FF2B5EF4-FFF2-40B4-BE49-F238E27FC236}">
                <a16:creationId xmlns:a16="http://schemas.microsoft.com/office/drawing/2014/main" id="{7136781B-A49B-0A42-B748-01C379A12F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C2B0AC-7801-6C42-BA03-0669DC118159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4" name="スライド番号プレースホルダ 5">
            <a:extLst>
              <a:ext uri="{FF2B5EF4-FFF2-40B4-BE49-F238E27FC236}">
                <a16:creationId xmlns:a16="http://schemas.microsoft.com/office/drawing/2014/main" id="{71FCF96E-3BB8-0745-B029-6B6BE4291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Nr.›</a:t>
            </a:fld>
            <a:endParaRPr lang="ja-JP" alt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75659DC-941F-AA40-8336-C3B1BF32BA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5375A5A-6A84-7145-B49C-982F846194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375196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F7E9041-544E-3547-AC30-65F55E91E1E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1150" y="1093767"/>
            <a:ext cx="375196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3822941942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09223" y="3076286"/>
            <a:ext cx="570865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F1FC7466-185A-8B44-ABF0-5410C1127700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6206170" y="3076286"/>
            <a:ext cx="570865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pic>
        <p:nvPicPr>
          <p:cNvPr id="10" name="Picture 9" descr="Takeda">
            <a:extLst>
              <a:ext uri="{FF2B5EF4-FFF2-40B4-BE49-F238E27FC236}">
                <a16:creationId xmlns:a16="http://schemas.microsoft.com/office/drawing/2014/main" id="{F183604A-2112-D443-8B35-2DFEE7121A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906CE02B-33D8-B048-A73D-781A3402C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4" name="Footer Placeholder 8">
            <a:extLst>
              <a:ext uri="{FF2B5EF4-FFF2-40B4-BE49-F238E27FC236}">
                <a16:creationId xmlns:a16="http://schemas.microsoft.com/office/drawing/2014/main" id="{C2587943-8F51-3542-B7BE-578171944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679FB0B-7616-F04F-9B4C-586869A82E96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8AFBB1AB-19B7-1347-93F8-D14235DD23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Nr.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1C168495-CA79-E440-A93B-B87B367483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6F06E4B-A978-4E46-AE6C-67B54F7E34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603669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FF373A1-4E48-6C48-A075-153436CF76D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1149" y="1093767"/>
            <a:ext cx="1160366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3161561364"/>
      </p:ext>
    </p:extLst>
  </p:cSld>
  <p:clrMapOvr>
    <a:masterClrMapping/>
  </p:clrMapOvr>
  <p:transition spd="slow">
    <p:push dir="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09224" y="3076286"/>
            <a:ext cx="375781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8D9BD23C-1777-C442-B4B0-BADF450483EA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4217095" y="3076286"/>
            <a:ext cx="375781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11" name="Chart Placeholder 7">
            <a:extLst>
              <a:ext uri="{FF2B5EF4-FFF2-40B4-BE49-F238E27FC236}">
                <a16:creationId xmlns:a16="http://schemas.microsoft.com/office/drawing/2014/main" id="{2D7D413C-2FF1-204A-83C6-B7426603B7C2}"/>
              </a:ext>
            </a:extLst>
          </p:cNvPr>
          <p:cNvSpPr>
            <a:spLocks noGrp="1"/>
          </p:cNvSpPr>
          <p:nvPr>
            <p:ph type="chart" sz="quarter" idx="23" hasCustomPrompt="1"/>
          </p:nvPr>
        </p:nvSpPr>
        <p:spPr>
          <a:xfrm>
            <a:off x="8123041" y="3076286"/>
            <a:ext cx="375781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pic>
        <p:nvPicPr>
          <p:cNvPr id="13" name="Picture 12" descr="Takeda">
            <a:extLst>
              <a:ext uri="{FF2B5EF4-FFF2-40B4-BE49-F238E27FC236}">
                <a16:creationId xmlns:a16="http://schemas.microsoft.com/office/drawing/2014/main" id="{0C4979BF-EBB2-214C-8087-7AC4B2163D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2FFB1535-D35E-D242-B225-DDF1C53BB8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47DB5E3C-7053-3645-A234-760F5ED123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C8CB7-67E9-8A46-B53F-F34ACE18BE87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5EB1023E-4E73-AD49-83B0-D7B458250C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Nr.›</a:t>
            </a:fld>
            <a:endParaRPr lang="ja-JP" altLang="en-US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4942DB0C-137A-4E4C-B926-77CEECC512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D1171B1-AEC6-164D-8FE0-E0B9353A55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6C4AA1F-8B09-5544-9C70-388A6E2940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378292908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4354731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866513" y="376180"/>
            <a:ext cx="6326533" cy="6108535"/>
          </a:xfrm>
          <a:custGeom>
            <a:avLst/>
            <a:gdLst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3409714 w 6462532"/>
              <a:gd name="connsiteY2" fmla="*/ 0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309764"/>
              <a:gd name="connsiteY0" fmla="*/ 3060215 h 6113033"/>
              <a:gd name="connsiteX1" fmla="*/ 3052818 w 7309764"/>
              <a:gd name="connsiteY1" fmla="*/ 7397 h 6113033"/>
              <a:gd name="connsiteX2" fmla="*/ 6592752 w 7309764"/>
              <a:gd name="connsiteY2" fmla="*/ 53695 h 6113033"/>
              <a:gd name="connsiteX3" fmla="*/ 6462532 w 7309764"/>
              <a:gd name="connsiteY3" fmla="*/ 3060215 h 6113033"/>
              <a:gd name="connsiteX4" fmla="*/ 6462532 w 7309764"/>
              <a:gd name="connsiteY4" fmla="*/ 3060215 h 6113033"/>
              <a:gd name="connsiteX5" fmla="*/ 3409714 w 7309764"/>
              <a:gd name="connsiteY5" fmla="*/ 6113033 h 6113033"/>
              <a:gd name="connsiteX6" fmla="*/ 3052818 w 7309764"/>
              <a:gd name="connsiteY6" fmla="*/ 6113033 h 6113033"/>
              <a:gd name="connsiteX7" fmla="*/ 0 w 7309764"/>
              <a:gd name="connsiteY7" fmla="*/ 3060215 h 6113033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6750471"/>
              <a:gd name="connsiteY0" fmla="*/ 3052818 h 6105636"/>
              <a:gd name="connsiteX1" fmla="*/ 3052818 w 6750471"/>
              <a:gd name="connsiteY1" fmla="*/ 0 h 6105636"/>
              <a:gd name="connsiteX2" fmla="*/ 6395982 w 6750471"/>
              <a:gd name="connsiteY2" fmla="*/ 11574 h 6105636"/>
              <a:gd name="connsiteX3" fmla="*/ 6462532 w 6750471"/>
              <a:gd name="connsiteY3" fmla="*/ 3052818 h 6105636"/>
              <a:gd name="connsiteX4" fmla="*/ 6462532 w 6750471"/>
              <a:gd name="connsiteY4" fmla="*/ 3052818 h 6105636"/>
              <a:gd name="connsiteX5" fmla="*/ 3409714 w 6750471"/>
              <a:gd name="connsiteY5" fmla="*/ 6105636 h 6105636"/>
              <a:gd name="connsiteX6" fmla="*/ 3052818 w 6750471"/>
              <a:gd name="connsiteY6" fmla="*/ 6105636 h 6105636"/>
              <a:gd name="connsiteX7" fmla="*/ 0 w 6750471"/>
              <a:gd name="connsiteY7" fmla="*/ 3052818 h 6105636"/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6395982 w 6462532"/>
              <a:gd name="connsiteY2" fmla="*/ 11574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6462532 w 6477004"/>
              <a:gd name="connsiteY4" fmla="*/ 3052819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5756477 w 6477004"/>
              <a:gd name="connsiteY4" fmla="*/ 3018095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3409714 w 6477004"/>
              <a:gd name="connsiteY4" fmla="*/ 6105637 h 6105637"/>
              <a:gd name="connsiteX5" fmla="*/ 3052818 w 6477004"/>
              <a:gd name="connsiteY5" fmla="*/ 6105637 h 6105637"/>
              <a:gd name="connsiteX6" fmla="*/ 0 w 6477004"/>
              <a:gd name="connsiteY6" fmla="*/ 3052819 h 6105637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462532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323635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326533"/>
              <a:gd name="connsiteY0" fmla="*/ 3052819 h 6108535"/>
              <a:gd name="connsiteX1" fmla="*/ 3052818 w 6326533"/>
              <a:gd name="connsiteY1" fmla="*/ 1 h 6108535"/>
              <a:gd name="connsiteX2" fmla="*/ 6326533 w 6326533"/>
              <a:gd name="connsiteY2" fmla="*/ 0 h 6108535"/>
              <a:gd name="connsiteX3" fmla="*/ 6323635 w 6326533"/>
              <a:gd name="connsiteY3" fmla="*/ 6108535 h 6108535"/>
              <a:gd name="connsiteX4" fmla="*/ 3409714 w 6326533"/>
              <a:gd name="connsiteY4" fmla="*/ 6105637 h 6108535"/>
              <a:gd name="connsiteX5" fmla="*/ 3052818 w 6326533"/>
              <a:gd name="connsiteY5" fmla="*/ 6105637 h 6108535"/>
              <a:gd name="connsiteX6" fmla="*/ 0 w 6326533"/>
              <a:gd name="connsiteY6" fmla="*/ 3052819 h 6108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26533" h="6108535">
                <a:moveTo>
                  <a:pt x="0" y="3052819"/>
                </a:moveTo>
                <a:cubicBezTo>
                  <a:pt x="0" y="1366794"/>
                  <a:pt x="1366793" y="1"/>
                  <a:pt x="3052818" y="1"/>
                </a:cubicBezTo>
                <a:lnTo>
                  <a:pt x="6326533" y="0"/>
                </a:lnTo>
                <a:lnTo>
                  <a:pt x="6323635" y="6108535"/>
                </a:lnTo>
                <a:lnTo>
                  <a:pt x="3409714" y="6105637"/>
                </a:lnTo>
                <a:lnTo>
                  <a:pt x="3052818" y="6105637"/>
                </a:lnTo>
                <a:cubicBezTo>
                  <a:pt x="1366793" y="6105637"/>
                  <a:pt x="0" y="4738844"/>
                  <a:pt x="0" y="3052819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pic>
        <p:nvPicPr>
          <p:cNvPr id="9" name="Picture 8" descr="Takeda">
            <a:extLst>
              <a:ext uri="{FF2B5EF4-FFF2-40B4-BE49-F238E27FC236}">
                <a16:creationId xmlns:a16="http://schemas.microsoft.com/office/drawing/2014/main" id="{F83AE827-0C93-0344-8F1E-82C9D7F8CD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417" y="-10972"/>
            <a:ext cx="2251710" cy="124886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219044E-3CA3-8043-AF11-ED42DE4ECFF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4730" y="6367253"/>
            <a:ext cx="1958578" cy="117462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94729" y="3835926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94729" y="4094940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94729" y="4349427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94729" y="3577405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</p:spTree>
    <p:extLst>
      <p:ext uri="{BB962C8B-B14F-4D97-AF65-F5344CB8AC3E}">
        <p14:creationId xmlns:p14="http://schemas.microsoft.com/office/powerpoint/2010/main" val="4074573485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6862150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94729" y="3835926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94729" y="4094940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94729" y="4349427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94729" y="3577405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6819C41-2A79-B54D-9C44-C619DA694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1921" y="6357944"/>
            <a:ext cx="1958578" cy="11746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D2794BD-1A0D-7D48-855D-469111926B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0516" y="-8600"/>
            <a:ext cx="2251710" cy="1248865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9909778-A51F-784D-ACA4-EC5DBA48BE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4729" y="6319955"/>
            <a:ext cx="7699670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661019747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1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1102385"/>
            <a:ext cx="11569700" cy="5328857"/>
          </a:xfrm>
          <a:prstGeom prst="rect">
            <a:avLst/>
          </a:prstGeom>
        </p:spPr>
        <p:txBody>
          <a:bodyPr tIns="0" rIns="0" bIns="0" numCol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a one-column layout. Click to add content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A75F5BF7-D49E-8A49-AE81-CB31E57D5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51A4825E-63A1-564F-BC3A-FBC167ECE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Nr.›</a:t>
            </a:fld>
            <a:endParaRPr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F9CDB0-5730-E246-B31F-F5963CF8EFDC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44EB3013-FCB4-1B4E-A9F2-FD57CF727C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851679422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1102385"/>
            <a:ext cx="11569700" cy="5328857"/>
          </a:xfrm>
          <a:prstGeom prst="rect">
            <a:avLst/>
          </a:prstGeom>
        </p:spPr>
        <p:txBody>
          <a:bodyPr tIns="0" rIns="0" bIns="0" numCol="2" spcCol="5400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a two-column layout. Click to add content. 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A75F5BF7-D49E-8A49-AE81-CB31E57D5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Two-column layout. Click to add title</a:t>
            </a:r>
            <a:endParaRPr kumimoji="1" lang="ja-JP" alt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9634AC-7DDA-D44D-88DB-5850289DD643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E22A984C-7436-8C4C-83C8-F2AD67592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Nr.›</a:t>
            </a:fld>
            <a:endParaRPr lang="ja-JP" alt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A6720AD-4FA4-A146-AEEB-A4E558BAA3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1208037409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4354731" cy="2279130"/>
          </a:xfrm>
          <a:prstGeom prst="rect">
            <a:avLst/>
          </a:prstGeom>
        </p:spPr>
        <p:txBody>
          <a:bodyPr wrap="square" lIns="0" tIns="0" rIns="0" bIns="0" anchor="ctr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46656F8F-0621-5F47-BF80-4A4E365A2D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42541" y="-1"/>
            <a:ext cx="5565823" cy="6416675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158474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782524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0592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1188396" y="3358591"/>
                </a:lnTo>
                <a:cubicBezTo>
                  <a:pt x="848612" y="3356903"/>
                  <a:pt x="0" y="3267167"/>
                  <a:pt x="0" y="2946995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JP" dirty="0"/>
          </a:p>
        </p:txBody>
      </p:sp>
    </p:spTree>
    <p:extLst>
      <p:ext uri="{BB962C8B-B14F-4D97-AF65-F5344CB8AC3E}">
        <p14:creationId xmlns:p14="http://schemas.microsoft.com/office/powerpoint/2010/main" val="3341281494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5709C50A-25A5-7641-AAFB-B85296034B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6969" y="6194344"/>
            <a:ext cx="2678060" cy="16061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CE62861-818A-CA4D-9EEF-1ABA93081F5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0222" y="6574508"/>
            <a:ext cx="3511554" cy="93116"/>
          </a:xfrm>
          <a:prstGeom prst="rect">
            <a:avLst/>
          </a:prstGeom>
        </p:spPr>
      </p:pic>
      <p:pic>
        <p:nvPicPr>
          <p:cNvPr id="8" name="Picture 7" descr="Takeda">
            <a:extLst>
              <a:ext uri="{FF2B5EF4-FFF2-40B4-BE49-F238E27FC236}">
                <a16:creationId xmlns:a16="http://schemas.microsoft.com/office/drawing/2014/main" id="{AEF157DC-E05F-7D4B-934F-A345B93BFFF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2217" y="5064019"/>
            <a:ext cx="2327564" cy="1290936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5DA52-BBAF-EA48-AEC6-EA08F428CF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0038" y="2293937"/>
            <a:ext cx="11591925" cy="227012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3000"/>
            </a:lvl1pPr>
          </a:lstStyle>
          <a:p>
            <a:pPr lvl="0"/>
            <a:r>
              <a:rPr lang="en-US" dirty="0"/>
              <a:t>Thank You</a:t>
            </a:r>
            <a:endParaRPr lang="en-JP" dirty="0"/>
          </a:p>
        </p:txBody>
      </p:sp>
    </p:spTree>
    <p:extLst>
      <p:ext uri="{BB962C8B-B14F-4D97-AF65-F5344CB8AC3E}">
        <p14:creationId xmlns:p14="http://schemas.microsoft.com/office/powerpoint/2010/main" val="3478941754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5DA52-BBAF-EA48-AEC6-EA08F428CF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0038" y="371959"/>
            <a:ext cx="11591925" cy="60447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3000"/>
            </a:lvl1pPr>
          </a:lstStyle>
          <a:p>
            <a:pPr lvl="0"/>
            <a:r>
              <a:rPr lang="en-US" dirty="0"/>
              <a:t>Blank slide</a:t>
            </a:r>
            <a:endParaRPr lang="en-JP" dirty="0"/>
          </a:p>
        </p:txBody>
      </p:sp>
    </p:spTree>
    <p:extLst>
      <p:ext uri="{BB962C8B-B14F-4D97-AF65-F5344CB8AC3E}">
        <p14:creationId xmlns:p14="http://schemas.microsoft.com/office/powerpoint/2010/main" val="3226569479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dvanced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F0DD41-BD6B-7941-8305-67EF42EC2B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151" y="1491373"/>
            <a:ext cx="11569700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5708650" cy="2840771"/>
          </a:xfr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4486BE7-E24B-D445-B95D-8D976B5C5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76929" y="3575904"/>
            <a:ext cx="5708650" cy="2840771"/>
          </a:xfrm>
        </p:spPr>
        <p:txBody>
          <a:bodyPr tIns="0" rIns="0" bIns="0" numCol="1">
            <a:no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F66F056-E301-3942-8399-963B744AD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1150" y="1093767"/>
            <a:ext cx="11569700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4625"/>
            <a:ext cx="4114800" cy="1945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pic>
        <p:nvPicPr>
          <p:cNvPr id="14" name="Picture 13" descr="Takeda">
            <a:extLst>
              <a:ext uri="{FF2B5EF4-FFF2-40B4-BE49-F238E27FC236}">
                <a16:creationId xmlns:a16="http://schemas.microsoft.com/office/drawing/2014/main" id="{A75F5BF7-D49E-8A49-AE81-CB31E57D5A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331" y="-1615"/>
            <a:ext cx="1696232" cy="940780"/>
          </a:xfrm>
          <a:prstGeom prst="rect">
            <a:avLst/>
          </a:prstGeom>
        </p:spPr>
      </p:pic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Click to add title</a:t>
            </a:r>
            <a:endParaRPr kumimoji="1" lang="ja-JP" alt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15E3CB-F694-EC42-B70E-C728F3F2F933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3" name="スライド番号プレースホルダ 5">
            <a:extLst>
              <a:ext uri="{FF2B5EF4-FFF2-40B4-BE49-F238E27FC236}">
                <a16:creationId xmlns:a16="http://schemas.microsoft.com/office/drawing/2014/main" id="{3247B7AF-EE58-F847-A606-0F66235043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Nr.›</a:t>
            </a:fld>
            <a:endParaRPr lang="ja-JP" altLang="en-US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31D9C203-575D-DE43-B0D0-0D00DFD467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6078" y="6524625"/>
            <a:ext cx="6968348" cy="203989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276495002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83D300-2124-42DF-B73B-3D3D4C546E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585269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95" imgH="394" progId="TCLayout.ActiveDocument.1">
                  <p:embed/>
                </p:oleObj>
              </mc:Choice>
              <mc:Fallback>
                <p:oleObj name="think-cell Slide" r:id="rId2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83D300-2124-42DF-B73B-3D3D4C546E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B895B28-7064-4AD0-A15D-88F99BCA9BAD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en-US" altLang="ja-JP" sz="2800" b="0" i="0" baseline="0">
              <a:latin typeface="Calibri" panose="020F0502020204030204" pitchFamily="34" charset="0"/>
              <a:ea typeface="メイリオ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311150" y="1233487"/>
            <a:ext cx="11569700" cy="5183187"/>
          </a:xfrm>
          <a:prstGeom prst="rect">
            <a:avLst/>
          </a:prstGeom>
        </p:spPr>
        <p:txBody>
          <a:bodyPr vert="horz" lIns="0" tIns="45710" rIns="91420" bIns="45710" rtlCol="0">
            <a:normAutofit/>
          </a:bodyPr>
          <a:lstStyle/>
          <a:p>
            <a:pPr lvl="0"/>
            <a:r>
              <a:rPr kumimoji="1" lang="en-US" altLang="ja-JP" dirty="0"/>
              <a:t>Master text</a:t>
            </a:r>
            <a:endParaRPr kumimoji="1" lang="ja-JP" altLang="en-US"/>
          </a:p>
        </p:txBody>
      </p:sp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44E43001-C216-284A-9EBD-E54B5DD295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489701"/>
            <a:ext cx="4114800" cy="2294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9" name="タイトル プレースホルダ 1">
            <a:extLst>
              <a:ext uri="{FF2B5EF4-FFF2-40B4-BE49-F238E27FC236}">
                <a16:creationId xmlns:a16="http://schemas.microsoft.com/office/drawing/2014/main" id="{D7981A12-E00B-604C-B863-7CBF31AA6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078" y="161605"/>
            <a:ext cx="9895084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Master title</a:t>
            </a:r>
            <a:endParaRPr kumimoji="1" lang="ja-JP" altLang="en-US"/>
          </a:p>
        </p:txBody>
      </p:sp>
      <p:sp>
        <p:nvSpPr>
          <p:cNvPr id="13" name="スライド番号プレースホルダ 5">
            <a:extLst>
              <a:ext uri="{FF2B5EF4-FFF2-40B4-BE49-F238E27FC236}">
                <a16:creationId xmlns:a16="http://schemas.microsoft.com/office/drawing/2014/main" id="{C7AA5A17-3F2F-B94B-9342-A137057B8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489701"/>
            <a:ext cx="589856" cy="229432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Nr.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83548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0" r:id="rId2"/>
    <p:sldLayoutId id="2147483989" r:id="rId3"/>
    <p:sldLayoutId id="2147483986" r:id="rId4"/>
    <p:sldLayoutId id="2147483987" r:id="rId5"/>
    <p:sldLayoutId id="2147483961" r:id="rId6"/>
    <p:sldLayoutId id="2147483985" r:id="rId7"/>
    <p:sldLayoutId id="2147483988" r:id="rId8"/>
    <p:sldLayoutId id="2147483966" r:id="rId9"/>
    <p:sldLayoutId id="2147483920" r:id="rId10"/>
    <p:sldLayoutId id="2147483922" r:id="rId11"/>
    <p:sldLayoutId id="2147483930" r:id="rId12"/>
    <p:sldLayoutId id="2147483924" r:id="rId13"/>
    <p:sldLayoutId id="2147483931" r:id="rId14"/>
    <p:sldLayoutId id="2147483925" r:id="rId15"/>
    <p:sldLayoutId id="2147483926" r:id="rId16"/>
    <p:sldLayoutId id="2147483927" r:id="rId17"/>
    <p:sldLayoutId id="2147483928" r:id="rId18"/>
    <p:sldLayoutId id="2147483929" r:id="rId19"/>
  </p:sldLayoutIdLst>
  <p:transition spd="slow">
    <p:push dir="u"/>
  </p:transition>
  <p:hf hdr="0" dt="0"/>
  <p:txStyles>
    <p:titleStyle>
      <a:lvl1pPr algn="l" defTabSz="914150" rtl="0" eaLnBrk="1" latinLnBrk="0" hangingPunct="1">
        <a:lnSpc>
          <a:spcPts val="2800"/>
        </a:lnSpc>
        <a:spcBef>
          <a:spcPct val="0"/>
        </a:spcBef>
        <a:buNone/>
        <a:defRPr kumimoji="1" sz="2800" b="1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</p:titleStyle>
    <p:bodyStyle>
      <a:lvl1pPr marL="457071" indent="-457071" algn="l" defTabSz="91415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1pPr>
      <a:lvl2pPr marL="742745" indent="-285677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b="0" i="0" kern="120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2pPr>
      <a:lvl3pPr marL="1142690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3pPr>
      <a:lvl4pPr marL="1599760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4pPr>
      <a:lvl5pPr marL="2056831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5pPr>
      <a:lvl6pPr marL="2513910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86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61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42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07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15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226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30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382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245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952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659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7">
          <p15:clr>
            <a:srgbClr val="F26B43"/>
          </p15:clr>
        </p15:guide>
        <p15:guide id="2" pos="189" userDrawn="1">
          <p15:clr>
            <a:srgbClr val="F26B43"/>
          </p15:clr>
        </p15:guide>
        <p15:guide id="3" pos="7491" userDrawn="1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370" userDrawn="1">
          <p15:clr>
            <a:srgbClr val="F26B43"/>
          </p15:clr>
        </p15:guide>
        <p15:guide id="6" orient="horz" pos="40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hyperlink" Target="https://www.google.at/url?sa=i&amp;rct=j&amp;q=&amp;esrc=s&amp;source=images&amp;cd=&amp;cad=rja&amp;uact=8&amp;ved=2ahUKEwjYyqzz__feAhVMQRoKHcR4AokQjRx6BAgBEAU&amp;url=https://pixabay.com/de/photos/fragen/?&amp;psig=AOvVaw31SjdFuD3ksaiT8n_uJYnP&amp;ust=1543525819186724" TargetMode="Externa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A picture containing spectacles&#10;&#10;Description automatically generated">
            <a:extLst>
              <a:ext uri="{FF2B5EF4-FFF2-40B4-BE49-F238E27FC236}">
                <a16:creationId xmlns:a16="http://schemas.microsoft.com/office/drawing/2014/main" id="{E23C27B3-162F-1A42-9548-CF89F730535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" r="303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5C2CD95-083B-1C42-8DFF-C7D865713F9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abry GT – NaCl addition at harves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728ACEB-1DAE-6E41-8099-4DF6761604B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Viral Vector Pilot Plant Downstream</a:t>
            </a:r>
            <a:endParaRPr lang="en-JP" dirty="0"/>
          </a:p>
          <a:p>
            <a:endParaRPr lang="en-JP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5B77C89-A62A-8048-B018-D8359648210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Biotherapeutics Process Development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4D3D46D-4931-874B-8D76-08BA17742D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/>
              <a:t>08 May </a:t>
            </a:r>
            <a:r>
              <a:rPr lang="de-DE" dirty="0"/>
              <a:t>2023</a:t>
            </a:r>
            <a:endParaRPr lang="en-JP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DBA64DF-53AA-BB42-B55D-C3D9D5EDC8F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Andreas Maccani</a:t>
            </a:r>
            <a:endParaRPr lang="en-JP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6A572C7-50B0-F540-A731-B116EB48CC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JP"/>
          </a:p>
        </p:txBody>
      </p:sp>
    </p:spTree>
    <p:extLst>
      <p:ext uri="{BB962C8B-B14F-4D97-AF65-F5344CB8AC3E}">
        <p14:creationId xmlns:p14="http://schemas.microsoft.com/office/powerpoint/2010/main" val="247747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D6EDAF-C959-4383-9972-BC3B54E931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559A8B2-AAFD-4B31-A51A-42B638C67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DS – Vector Genome Yields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9A6B83-4E10-4E30-8433-279F2A766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10</a:t>
            </a:fld>
            <a:endParaRPr lang="ja-JP" alt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1E1247-1DCD-468F-BA41-C9C9D9895D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C76A11E-2561-41F8-21A7-518B75AF0420}"/>
              </a:ext>
            </a:extLst>
          </p:cNvPr>
          <p:cNvSpPr txBox="1"/>
          <p:nvPr/>
        </p:nvSpPr>
        <p:spPr>
          <a:xfrm>
            <a:off x="7375873" y="2706416"/>
            <a:ext cx="4504977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/>
              <a:t>Pall SUB: approx. 40% higher vg yield with NaCl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/>
              <a:t>However, no yield improvement observed with Sartorius SUB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/>
              <a:t>Vg yield (200L Scale): approx. 2.0E+15 vg or </a:t>
            </a:r>
            <a:r>
              <a:rPr lang="en-US" b="1" dirty="0"/>
              <a:t>1.0E+13 vg/L harvest</a:t>
            </a:r>
          </a:p>
        </p:txBody>
      </p:sp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A1CA3124-400B-AEDA-EB85-35D152F2C4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3130616"/>
              </p:ext>
            </p:extLst>
          </p:nvPr>
        </p:nvGraphicFramePr>
        <p:xfrm>
          <a:off x="606078" y="946200"/>
          <a:ext cx="7307495" cy="803497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860090">
                  <a:extLst>
                    <a:ext uri="{9D8B030D-6E8A-4147-A177-3AD203B41FA5}">
                      <a16:colId xmlns:a16="http://schemas.microsoft.com/office/drawing/2014/main" val="2742795737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2406110361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1692549505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1626778523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290477694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3185457749"/>
                    </a:ext>
                  </a:extLst>
                </a:gridCol>
              </a:tblGrid>
              <a:tr h="269103">
                <a:tc>
                  <a:txBody>
                    <a:bodyPr/>
                    <a:lstStyle/>
                    <a:p>
                      <a:pPr algn="l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tch I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2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4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2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27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395697"/>
                  </a:ext>
                </a:extLst>
              </a:tr>
              <a:tr h="26719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oreactor</a:t>
                      </a:r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FMB (200L SUB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629003"/>
                  </a:ext>
                </a:extLst>
              </a:tr>
              <a:tr h="26719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t </a:t>
                      </a:r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ition</a:t>
                      </a:r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t </a:t>
                      </a:r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rvest</a:t>
                      </a:r>
                      <a:endParaRPr lang="de-AT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r>
                        <a:rPr lang="de-A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</a:t>
                      </a:r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r>
                        <a:rPr lang="de-A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</a:t>
                      </a:r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9957799"/>
                  </a:ext>
                </a:extLst>
              </a:tr>
            </a:tbl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3132EC60-AE7D-990B-E57B-5E32E2814E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614" y="2134763"/>
            <a:ext cx="6486706" cy="3603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452470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D6EDAF-C959-4383-9972-BC3B54E931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559A8B2-AAFD-4B31-A51A-42B638C67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rvest</a:t>
            </a:r>
            <a:r>
              <a:rPr lang="en-US" dirty="0"/>
              <a:t> – Step Yields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9A6B83-4E10-4E30-8433-279F2A766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11</a:t>
            </a:fld>
            <a:endParaRPr lang="ja-JP" alt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1E1247-1DCD-468F-BA41-C9C9D9895D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2D10734-94BC-4057-A270-8EAFCB9DDF8D}"/>
              </a:ext>
            </a:extLst>
          </p:cNvPr>
          <p:cNvSpPr txBox="1"/>
          <p:nvPr/>
        </p:nvSpPr>
        <p:spPr>
          <a:xfrm>
            <a:off x="458614" y="5052767"/>
            <a:ext cx="10966797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/>
              <a:t>Similar cp step yields at HAR (depth filtration) – approx. 90%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/>
              <a:t>However, positive trend of vg step yield observed already w/o NaCl addition (approx. 55% </a:t>
            </a:r>
            <a:r>
              <a:rPr lang="en-US" dirty="0">
                <a:sym typeface="Wingdings" panose="05000000000000000000" pitchFamily="2" charset="2"/>
              </a:rPr>
              <a:t> 73%)</a:t>
            </a:r>
            <a:endParaRPr lang="en-US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/>
              <a:t>Potentially, higher vg step yield with NaCl addition (&gt;80%)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>
                <a:sym typeface="Wingdings" panose="05000000000000000000" pitchFamily="2" charset="2"/>
              </a:rPr>
              <a:t> Is there a correlation with filter medium lot (filter charge)?  Data collection in progress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235650E-5628-FEE5-04DD-7F309D8E93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324" y="915925"/>
            <a:ext cx="5941676" cy="3963353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40311FF8-9E99-90FA-77FB-B46A887906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3176" y="915925"/>
            <a:ext cx="5938324" cy="3960000"/>
          </a:xfrm>
          <a:prstGeom prst="rect">
            <a:avLst/>
          </a:prstGeom>
        </p:spPr>
      </p:pic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3CCF0E27-A2CF-21B1-5DF8-80D4C9885157}"/>
              </a:ext>
            </a:extLst>
          </p:cNvPr>
          <p:cNvCxnSpPr/>
          <p:nvPr/>
        </p:nvCxnSpPr>
        <p:spPr>
          <a:xfrm flipV="1">
            <a:off x="6962775" y="2201418"/>
            <a:ext cx="4810125" cy="628650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48657CC-0167-9B1A-83F0-257B6B1D1095}"/>
              </a:ext>
            </a:extLst>
          </p:cNvPr>
          <p:cNvSpPr txBox="1"/>
          <p:nvPr/>
        </p:nvSpPr>
        <p:spPr>
          <a:xfrm>
            <a:off x="1562100" y="3878199"/>
            <a:ext cx="381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ND</a:t>
            </a:r>
            <a:endParaRPr lang="de-AT" sz="1200" dirty="0"/>
          </a:p>
        </p:txBody>
      </p:sp>
    </p:spTree>
    <p:extLst>
      <p:ext uri="{BB962C8B-B14F-4D97-AF65-F5344CB8AC3E}">
        <p14:creationId xmlns:p14="http://schemas.microsoft.com/office/powerpoint/2010/main" val="78436272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D6EDAF-C959-4383-9972-BC3B54E931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559A8B2-AAFD-4B31-A51A-42B638C67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9A6B83-4E10-4E30-8433-279F2A766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12</a:t>
            </a:fld>
            <a:endParaRPr lang="ja-JP" alt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1E1247-1DCD-468F-BA41-C9C9D9895D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A419B74-BD52-1E88-94F9-C5368382A50B}"/>
              </a:ext>
            </a:extLst>
          </p:cNvPr>
          <p:cNvSpPr txBox="1">
            <a:spLocks/>
          </p:cNvSpPr>
          <p:nvPr/>
        </p:nvSpPr>
        <p:spPr>
          <a:xfrm>
            <a:off x="6589169" y="4151584"/>
            <a:ext cx="6012648" cy="1581486"/>
          </a:xfrm>
          <a:prstGeom prst="rect">
            <a:avLst/>
          </a:prstGeom>
        </p:spPr>
        <p:txBody>
          <a:bodyPr>
            <a:noAutofit/>
          </a:bodyPr>
          <a:lstStyle>
            <a:lvl1pPr marL="457071" indent="-457071" algn="l" defTabSz="91415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1pPr>
            <a:lvl2pPr marL="742745" indent="-285677" algn="l" defTabSz="91415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b="0" i="0" kern="120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2pPr>
            <a:lvl3pPr marL="1142690" indent="-228541" algn="l" defTabSz="91415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3pPr>
            <a:lvl4pPr marL="1599760" indent="-228541" algn="l" defTabSz="91415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4pPr>
            <a:lvl5pPr marL="2056831" indent="-228541" algn="l" defTabSz="91415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5pPr>
            <a:lvl6pPr marL="2513910" indent="-228541" algn="l" defTabSz="9141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86" indent="-228541" algn="l" defTabSz="9141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061" indent="-228541" algn="l" defTabSz="9141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142" indent="-228541" algn="l" defTabSz="9141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8788" indent="-285750">
              <a:buFont typeface="Wingdings" panose="05000000000000000000" pitchFamily="2" charset="2"/>
              <a:buChar char="§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7F1540FD-AA8A-0550-64CF-8191D4AF082B}"/>
              </a:ext>
            </a:extLst>
          </p:cNvPr>
          <p:cNvSpPr txBox="1">
            <a:spLocks/>
          </p:cNvSpPr>
          <p:nvPr/>
        </p:nvSpPr>
        <p:spPr>
          <a:xfrm>
            <a:off x="533400" y="1044506"/>
            <a:ext cx="11125199" cy="4929412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818" lvl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800" dirty="0">
                <a:solidFill>
                  <a:srgbClr val="4C4948"/>
                </a:solidFill>
              </a:rPr>
              <a:t>NaCl addition at harvest: </a:t>
            </a:r>
          </a:p>
          <a:p>
            <a:pPr marL="1200018" lvl="2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rgbClr val="4C4948"/>
                </a:solidFill>
              </a:rPr>
              <a:t>Approx. 40% vg yield increase (BDS) observed with Pall SUB (n=1)</a:t>
            </a:r>
          </a:p>
          <a:p>
            <a:pPr marL="1200018" lvl="2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rgbClr val="4C4948"/>
                </a:solidFill>
              </a:rPr>
              <a:t>However, no vg yield increase observed in Sartorius SUB runs</a:t>
            </a:r>
          </a:p>
          <a:p>
            <a:pPr marL="1200018" lvl="2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rgbClr val="4C4948"/>
                </a:solidFill>
              </a:rPr>
              <a:t>No negative impact on residual HEK HCP</a:t>
            </a:r>
          </a:p>
          <a:p>
            <a:pPr marL="1200018" lvl="2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rgbClr val="4C4948"/>
                </a:solidFill>
              </a:rPr>
              <a:t>Potentially, higher amount of residual HEK DNA (probably also plasmid DNA)</a:t>
            </a:r>
          </a:p>
          <a:p>
            <a:pPr marL="1200018" lvl="2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endParaRPr lang="en-US" sz="1600" dirty="0">
              <a:solidFill>
                <a:srgbClr val="4C4948"/>
              </a:solidFill>
            </a:endParaRPr>
          </a:p>
          <a:p>
            <a:pPr marL="742818" lvl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800" dirty="0">
                <a:solidFill>
                  <a:srgbClr val="4C4948"/>
                </a:solidFill>
              </a:rPr>
              <a:t>Harvest vg step yield ranges from approx. 53 – 82%</a:t>
            </a:r>
            <a:endParaRPr lang="en-US" sz="1600" dirty="0">
              <a:solidFill>
                <a:srgbClr val="4C4948"/>
              </a:solidFill>
            </a:endParaRPr>
          </a:p>
          <a:p>
            <a:pPr marL="1200018" lvl="2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rgbClr val="4C4948"/>
                </a:solidFill>
              </a:rPr>
              <a:t>Potential impact of depth filter lot; Correlation with Ca</a:t>
            </a:r>
            <a:r>
              <a:rPr lang="en-US" sz="1600" baseline="30000" dirty="0">
                <a:solidFill>
                  <a:srgbClr val="4C4948"/>
                </a:solidFill>
              </a:rPr>
              <a:t>2+</a:t>
            </a:r>
            <a:r>
              <a:rPr lang="en-US" sz="1600" dirty="0">
                <a:solidFill>
                  <a:srgbClr val="4C4948"/>
                </a:solidFill>
              </a:rPr>
              <a:t> (pos. charge of filter medium)?</a:t>
            </a:r>
          </a:p>
          <a:p>
            <a:pPr marL="1200018" lvl="2" indent="-28575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rgbClr val="4C4948"/>
                </a:solidFill>
                <a:sym typeface="Wingdings" panose="05000000000000000000" pitchFamily="2" charset="2"/>
              </a:rPr>
              <a:t> </a:t>
            </a:r>
            <a:r>
              <a:rPr lang="en-US" sz="1600" dirty="0">
                <a:solidFill>
                  <a:srgbClr val="4C4948"/>
                </a:solidFill>
              </a:rPr>
              <a:t>Data collection in progress</a:t>
            </a:r>
          </a:p>
        </p:txBody>
      </p:sp>
    </p:spTree>
    <p:extLst>
      <p:ext uri="{BB962C8B-B14F-4D97-AF65-F5344CB8AC3E}">
        <p14:creationId xmlns:p14="http://schemas.microsoft.com/office/powerpoint/2010/main" val="2434071707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Bildergebnis für bild fragen">
            <a:hlinkClick r:id="rId2"/>
            <a:extLst>
              <a:ext uri="{FF2B5EF4-FFF2-40B4-BE49-F238E27FC236}">
                <a16:creationId xmlns:a16="http://schemas.microsoft.com/office/drawing/2014/main" id="{F1994AFA-257F-4D62-90FB-25D63812FE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7568" y="908327"/>
            <a:ext cx="3424727" cy="3424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A9DC1776-293A-4462-A6A8-72A7E07010FE}"/>
              </a:ext>
            </a:extLst>
          </p:cNvPr>
          <p:cNvSpPr txBox="1">
            <a:spLocks/>
          </p:cNvSpPr>
          <p:nvPr/>
        </p:nvSpPr>
        <p:spPr>
          <a:xfrm>
            <a:off x="3362440" y="2620691"/>
            <a:ext cx="2901545" cy="738263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>
            <a:lvl1pPr marL="457200" indent="-457200" algn="ctr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None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3600" dirty="0">
                <a:solidFill>
                  <a:schemeClr val="tx1"/>
                </a:solidFill>
              </a:rPr>
              <a:t>Questions ?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19341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D6EDAF-C959-4383-9972-BC3B54E931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 dirty="0"/>
              <a:t>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9A6B83-4E10-4E30-8433-279F2A766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2</a:t>
            </a:fld>
            <a:endParaRPr lang="ja-JP" alt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1E1247-1DCD-468F-BA41-C9C9D9895D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A393180-8D24-634F-84B9-D8656D4706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 – TAK-754</a:t>
            </a:r>
            <a:endParaRPr lang="de-AT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DB62836-88BC-449C-9E62-CE567AFDA3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3" y="3528661"/>
            <a:ext cx="6000231" cy="2425734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19E2A0B-E79C-7CD6-9035-AB75CCA9061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527" y="3528661"/>
            <a:ext cx="6002928" cy="2425734"/>
          </a:xfrm>
          <a:prstGeom prst="rect">
            <a:avLst/>
          </a:prstGeom>
          <a:noFill/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4A352A58-2339-02B6-1B62-72FE250A7312}"/>
              </a:ext>
            </a:extLst>
          </p:cNvPr>
          <p:cNvSpPr txBox="1"/>
          <p:nvPr/>
        </p:nvSpPr>
        <p:spPr>
          <a:xfrm>
            <a:off x="209006" y="3133180"/>
            <a:ext cx="8107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TAK-754 (GT FVIII) 200L Pilot </a:t>
            </a:r>
            <a:r>
              <a:rPr lang="de-DE" b="1" dirty="0" err="1"/>
              <a:t>Scale</a:t>
            </a:r>
            <a:r>
              <a:rPr lang="de-DE" b="1" dirty="0"/>
              <a:t> </a:t>
            </a:r>
            <a:r>
              <a:rPr lang="de-DE" dirty="0"/>
              <a:t>(</a:t>
            </a:r>
            <a:r>
              <a:rPr lang="de-DE" dirty="0" err="1">
                <a:solidFill>
                  <a:srgbClr val="FF0000"/>
                </a:solidFill>
              </a:rPr>
              <a:t>red</a:t>
            </a:r>
            <a:r>
              <a:rPr lang="de-DE" dirty="0">
                <a:solidFill>
                  <a:srgbClr val="FF0000"/>
                </a:solidFill>
              </a:rPr>
              <a:t>: w/o NaCl</a:t>
            </a:r>
            <a:r>
              <a:rPr lang="de-DE" dirty="0"/>
              <a:t>, </a:t>
            </a:r>
            <a:r>
              <a:rPr lang="de-DE" dirty="0" err="1">
                <a:solidFill>
                  <a:srgbClr val="00B050"/>
                </a:solidFill>
              </a:rPr>
              <a:t>green</a:t>
            </a:r>
            <a:r>
              <a:rPr lang="de-DE" dirty="0">
                <a:solidFill>
                  <a:srgbClr val="00B050"/>
                </a:solidFill>
              </a:rPr>
              <a:t>: </a:t>
            </a:r>
            <a:r>
              <a:rPr lang="de-DE" dirty="0" err="1">
                <a:solidFill>
                  <a:srgbClr val="00B050"/>
                </a:solidFill>
              </a:rPr>
              <a:t>with</a:t>
            </a:r>
            <a:r>
              <a:rPr lang="de-DE" dirty="0">
                <a:solidFill>
                  <a:srgbClr val="00B050"/>
                </a:solidFill>
              </a:rPr>
              <a:t> NaCl</a:t>
            </a:r>
            <a:r>
              <a:rPr lang="de-DE" dirty="0"/>
              <a:t>)</a:t>
            </a:r>
            <a:endParaRPr lang="de-AT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CD46D6F-AFC9-BE26-71A0-3FCD4BBA0407}"/>
              </a:ext>
            </a:extLst>
          </p:cNvPr>
          <p:cNvSpPr txBox="1"/>
          <p:nvPr/>
        </p:nvSpPr>
        <p:spPr>
          <a:xfrm>
            <a:off x="418011" y="6035043"/>
            <a:ext cx="7768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ym typeface="Wingdings" panose="05000000000000000000" pitchFamily="2" charset="2"/>
              </a:rPr>
              <a:t> Higher harvest step yields with 128mM NaCl addition </a:t>
            </a:r>
            <a:endParaRPr lang="en-US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CF04E30F-E8FA-C588-AFC0-79C1F7A70D1A}"/>
              </a:ext>
            </a:extLst>
          </p:cNvPr>
          <p:cNvSpPr txBox="1"/>
          <p:nvPr/>
        </p:nvSpPr>
        <p:spPr>
          <a:xfrm>
            <a:off x="209006" y="1008380"/>
            <a:ext cx="1137339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alysis of TAK-754 Ph1/2 </a:t>
            </a:r>
            <a:r>
              <a:rPr lang="en-US" dirty="0" err="1"/>
              <a:t>Mfg</a:t>
            </a:r>
            <a:r>
              <a:rPr lang="en-US" dirty="0"/>
              <a:t> batches showed significant yield differe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ix-sigma green belt project Michaela Wieshaupt </a:t>
            </a:r>
            <a:r>
              <a:rPr lang="en-US" dirty="0">
                <a:sym typeface="Wingdings" panose="05000000000000000000" pitchFamily="2" charset="2"/>
              </a:rPr>
              <a:t> root cause analysis</a:t>
            </a:r>
            <a:r>
              <a:rPr lang="en-US" dirty="0"/>
              <a:t> </a:t>
            </a:r>
            <a:r>
              <a:rPr lang="en-US" dirty="0">
                <a:sym typeface="Wingdings" panose="05000000000000000000" pitchFamily="2" charset="2"/>
              </a:rPr>
              <a:t> impact of depth filter (Pall P900) lot-to-lot vari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ym typeface="Wingdings" panose="05000000000000000000" pitchFamily="2" charset="2"/>
              </a:rPr>
              <a:t>Correlation of yield with Ca</a:t>
            </a:r>
            <a:r>
              <a:rPr lang="en-US" baseline="30000" dirty="0">
                <a:sym typeface="Wingdings" panose="05000000000000000000" pitchFamily="2" charset="2"/>
              </a:rPr>
              <a:t>2+</a:t>
            </a:r>
            <a:r>
              <a:rPr lang="en-US" dirty="0">
                <a:sym typeface="Wingdings" panose="05000000000000000000" pitchFamily="2" charset="2"/>
              </a:rPr>
              <a:t> and Mg</a:t>
            </a:r>
            <a:r>
              <a:rPr lang="en-US" baseline="30000" dirty="0">
                <a:sym typeface="Wingdings" panose="05000000000000000000" pitchFamily="2" charset="2"/>
              </a:rPr>
              <a:t>2+</a:t>
            </a:r>
            <a:r>
              <a:rPr lang="en-US" dirty="0">
                <a:sym typeface="Wingdings" panose="05000000000000000000" pitchFamily="2" charset="2"/>
              </a:rPr>
              <a:t> content of filter medium. Filters with Ca</a:t>
            </a:r>
            <a:r>
              <a:rPr lang="en-US" baseline="30000" dirty="0">
                <a:sym typeface="Wingdings" panose="05000000000000000000" pitchFamily="2" charset="2"/>
              </a:rPr>
              <a:t>2+</a:t>
            </a:r>
            <a:r>
              <a:rPr lang="en-US" dirty="0">
                <a:sym typeface="Wingdings" panose="05000000000000000000" pitchFamily="2" charset="2"/>
              </a:rPr>
              <a:t> &gt; 130 mg/m² showed negative impact  Retention of full capsids because of higher pos. filter charge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98150F7-3921-AF3A-2110-35D0E43C1672}"/>
              </a:ext>
            </a:extLst>
          </p:cNvPr>
          <p:cNvSpPr txBox="1"/>
          <p:nvPr/>
        </p:nvSpPr>
        <p:spPr>
          <a:xfrm>
            <a:off x="209006" y="2586379"/>
            <a:ext cx="6322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ym typeface="Wingdings" panose="05000000000000000000" pitchFamily="2" charset="2"/>
              </a:rPr>
              <a:t> Addition of NaCl to reduce AAV capsid retention in depth filter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999590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D6EDAF-C959-4383-9972-BC3B54E931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 dirty="0"/>
              <a:t>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9A6B83-4E10-4E30-8433-279F2A766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3</a:t>
            </a:fld>
            <a:endParaRPr lang="ja-JP" alt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1E1247-1DCD-468F-BA41-C9C9D9895D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6078" y="6515143"/>
            <a:ext cx="6968348" cy="203989"/>
          </a:xfrm>
        </p:spPr>
        <p:txBody>
          <a:bodyPr/>
          <a:lstStyle/>
          <a:p>
            <a:endParaRPr lang="de-AT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A393180-8D24-634F-84B9-D8656D4706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 – Fabry GT NHP Production</a:t>
            </a:r>
            <a:endParaRPr lang="de-AT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1F48F74B-55CC-EAB6-BF37-EFCFC41640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72167" y="1810465"/>
            <a:ext cx="5761219" cy="4035902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F0085D17-017B-2DC1-025D-17B1530FC3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167" y="1925080"/>
            <a:ext cx="5760000" cy="3921287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473E0655-929A-8D05-367B-7DCE290C573A}"/>
              </a:ext>
            </a:extLst>
          </p:cNvPr>
          <p:cNvSpPr txBox="1"/>
          <p:nvPr/>
        </p:nvSpPr>
        <p:spPr>
          <a:xfrm rot="535123">
            <a:off x="8622176" y="524241"/>
            <a:ext cx="1626724" cy="646331"/>
          </a:xfrm>
          <a:custGeom>
            <a:avLst/>
            <a:gdLst>
              <a:gd name="connsiteX0" fmla="*/ 0 w 1626724"/>
              <a:gd name="connsiteY0" fmla="*/ 0 h 646331"/>
              <a:gd name="connsiteX1" fmla="*/ 509707 w 1626724"/>
              <a:gd name="connsiteY1" fmla="*/ 0 h 646331"/>
              <a:gd name="connsiteX2" fmla="*/ 1084483 w 1626724"/>
              <a:gd name="connsiteY2" fmla="*/ 0 h 646331"/>
              <a:gd name="connsiteX3" fmla="*/ 1626724 w 1626724"/>
              <a:gd name="connsiteY3" fmla="*/ 0 h 646331"/>
              <a:gd name="connsiteX4" fmla="*/ 1626724 w 1626724"/>
              <a:gd name="connsiteY4" fmla="*/ 316702 h 646331"/>
              <a:gd name="connsiteX5" fmla="*/ 1626724 w 1626724"/>
              <a:gd name="connsiteY5" fmla="*/ 646331 h 646331"/>
              <a:gd name="connsiteX6" fmla="*/ 1068215 w 1626724"/>
              <a:gd name="connsiteY6" fmla="*/ 646331 h 646331"/>
              <a:gd name="connsiteX7" fmla="*/ 558509 w 1626724"/>
              <a:gd name="connsiteY7" fmla="*/ 646331 h 646331"/>
              <a:gd name="connsiteX8" fmla="*/ 0 w 1626724"/>
              <a:gd name="connsiteY8" fmla="*/ 646331 h 646331"/>
              <a:gd name="connsiteX9" fmla="*/ 0 w 1626724"/>
              <a:gd name="connsiteY9" fmla="*/ 342555 h 646331"/>
              <a:gd name="connsiteX10" fmla="*/ 0 w 1626724"/>
              <a:gd name="connsiteY10" fmla="*/ 0 h 646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26724" h="646331" extrusionOk="0">
                <a:moveTo>
                  <a:pt x="0" y="0"/>
                </a:moveTo>
                <a:cubicBezTo>
                  <a:pt x="121511" y="-3080"/>
                  <a:pt x="404537" y="21542"/>
                  <a:pt x="509707" y="0"/>
                </a:cubicBezTo>
                <a:cubicBezTo>
                  <a:pt x="614877" y="-21542"/>
                  <a:pt x="843045" y="54792"/>
                  <a:pt x="1084483" y="0"/>
                </a:cubicBezTo>
                <a:cubicBezTo>
                  <a:pt x="1325921" y="-54792"/>
                  <a:pt x="1458511" y="34055"/>
                  <a:pt x="1626724" y="0"/>
                </a:cubicBezTo>
                <a:cubicBezTo>
                  <a:pt x="1658879" y="120119"/>
                  <a:pt x="1616102" y="215962"/>
                  <a:pt x="1626724" y="316702"/>
                </a:cubicBezTo>
                <a:cubicBezTo>
                  <a:pt x="1637346" y="417442"/>
                  <a:pt x="1626261" y="544128"/>
                  <a:pt x="1626724" y="646331"/>
                </a:cubicBezTo>
                <a:cubicBezTo>
                  <a:pt x="1482832" y="661918"/>
                  <a:pt x="1185650" y="609486"/>
                  <a:pt x="1068215" y="646331"/>
                </a:cubicBezTo>
                <a:cubicBezTo>
                  <a:pt x="950780" y="683176"/>
                  <a:pt x="750090" y="632616"/>
                  <a:pt x="558509" y="646331"/>
                </a:cubicBezTo>
                <a:cubicBezTo>
                  <a:pt x="366928" y="660046"/>
                  <a:pt x="119126" y="598365"/>
                  <a:pt x="0" y="646331"/>
                </a:cubicBezTo>
                <a:cubicBezTo>
                  <a:pt x="-17113" y="545245"/>
                  <a:pt x="17714" y="482621"/>
                  <a:pt x="0" y="342555"/>
                </a:cubicBezTo>
                <a:cubicBezTo>
                  <a:pt x="-17714" y="202489"/>
                  <a:pt x="2410" y="127515"/>
                  <a:pt x="0" y="0"/>
                </a:cubicBezTo>
                <a:close/>
              </a:path>
            </a:pathLst>
          </a:custGeom>
          <a:noFill/>
          <a:ln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3866624111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rgbClr val="FF0000"/>
                </a:solidFill>
              </a:rPr>
              <a:t>TechTeam</a:t>
            </a:r>
            <a:endParaRPr lang="de-DE" dirty="0">
              <a:solidFill>
                <a:srgbClr val="FF0000"/>
              </a:solidFill>
            </a:endParaRPr>
          </a:p>
          <a:p>
            <a:pPr algn="ctr"/>
            <a:r>
              <a:rPr lang="de-DE" dirty="0">
                <a:solidFill>
                  <a:srgbClr val="FF0000"/>
                </a:solidFill>
              </a:rPr>
              <a:t>08 Aug 2022</a:t>
            </a:r>
            <a:endParaRPr lang="de-AT" dirty="0">
              <a:solidFill>
                <a:srgbClr val="FF0000"/>
              </a:solidFill>
            </a:endParaRP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16A0631E-F767-60D5-7AD5-57E4752CD5AC}"/>
              </a:ext>
            </a:extLst>
          </p:cNvPr>
          <p:cNvSpPr/>
          <p:nvPr/>
        </p:nvSpPr>
        <p:spPr>
          <a:xfrm>
            <a:off x="1771650" y="2857499"/>
            <a:ext cx="695325" cy="1214437"/>
          </a:xfrm>
          <a:prstGeom prst="ellipse">
            <a:avLst/>
          </a:prstGeom>
          <a:noFill/>
          <a:ln w="28575">
            <a:solidFill>
              <a:srgbClr val="EE11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endParaRPr kumimoji="1" lang="de-AT" dirty="0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55D15D2F-5D04-004C-6D12-B29DF89A4CFE}"/>
              </a:ext>
            </a:extLst>
          </p:cNvPr>
          <p:cNvSpPr txBox="1"/>
          <p:nvPr/>
        </p:nvSpPr>
        <p:spPr>
          <a:xfrm>
            <a:off x="606078" y="924578"/>
            <a:ext cx="5760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HAR filter setup 200L sca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2 m² PDP8 + 2 m² V100 (Pal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No NaCl addition  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953E8AC-A088-6A3D-30CE-4FCF7C2A7B09}"/>
              </a:ext>
            </a:extLst>
          </p:cNvPr>
          <p:cNvSpPr txBox="1"/>
          <p:nvPr/>
        </p:nvSpPr>
        <p:spPr>
          <a:xfrm>
            <a:off x="606078" y="5813325"/>
            <a:ext cx="7699722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Vg step yield at HAR only around 60 –</a:t>
            </a:r>
            <a:r>
              <a:rPr lang="de-DE" dirty="0"/>
              <a:t> 70%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 </a:t>
            </a:r>
            <a:r>
              <a:rPr lang="en-US" dirty="0">
                <a:sym typeface="Wingdings" panose="05000000000000000000" pitchFamily="2" charset="2"/>
              </a:rPr>
              <a:t>Potential yield increase by NaCl add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69475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D6EDAF-C959-4383-9972-BC3B54E931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9A6B83-4E10-4E30-8433-279F2A766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4</a:t>
            </a:fld>
            <a:endParaRPr lang="ja-JP" alt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1E1247-1DCD-468F-BA41-C9C9D9895D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AT"/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155B4BFB-A5DF-A4F4-4B18-187F5AB959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5465419"/>
              </p:ext>
            </p:extLst>
          </p:nvPr>
        </p:nvGraphicFramePr>
        <p:xfrm>
          <a:off x="311150" y="1221106"/>
          <a:ext cx="11569690" cy="2607944"/>
        </p:xfrm>
        <a:graphic>
          <a:graphicData uri="http://schemas.openxmlformats.org/drawingml/2006/table">
            <a:tbl>
              <a:tblPr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127250">
                  <a:extLst>
                    <a:ext uri="{9D8B030D-6E8A-4147-A177-3AD203B41FA5}">
                      <a16:colId xmlns:a16="http://schemas.microsoft.com/office/drawing/2014/main" val="2742795737"/>
                    </a:ext>
                  </a:extLst>
                </a:gridCol>
                <a:gridCol w="1180305">
                  <a:extLst>
                    <a:ext uri="{9D8B030D-6E8A-4147-A177-3AD203B41FA5}">
                      <a16:colId xmlns:a16="http://schemas.microsoft.com/office/drawing/2014/main" val="2406110361"/>
                    </a:ext>
                  </a:extLst>
                </a:gridCol>
                <a:gridCol w="1180305">
                  <a:extLst>
                    <a:ext uri="{9D8B030D-6E8A-4147-A177-3AD203B41FA5}">
                      <a16:colId xmlns:a16="http://schemas.microsoft.com/office/drawing/2014/main" val="3581476102"/>
                    </a:ext>
                  </a:extLst>
                </a:gridCol>
                <a:gridCol w="1180305">
                  <a:extLst>
                    <a:ext uri="{9D8B030D-6E8A-4147-A177-3AD203B41FA5}">
                      <a16:colId xmlns:a16="http://schemas.microsoft.com/office/drawing/2014/main" val="1692549505"/>
                    </a:ext>
                  </a:extLst>
                </a:gridCol>
                <a:gridCol w="1180305">
                  <a:extLst>
                    <a:ext uri="{9D8B030D-6E8A-4147-A177-3AD203B41FA5}">
                      <a16:colId xmlns:a16="http://schemas.microsoft.com/office/drawing/2014/main" val="1761278298"/>
                    </a:ext>
                  </a:extLst>
                </a:gridCol>
                <a:gridCol w="1180305">
                  <a:extLst>
                    <a:ext uri="{9D8B030D-6E8A-4147-A177-3AD203B41FA5}">
                      <a16:colId xmlns:a16="http://schemas.microsoft.com/office/drawing/2014/main" val="1626778523"/>
                    </a:ext>
                  </a:extLst>
                </a:gridCol>
                <a:gridCol w="1180305">
                  <a:extLst>
                    <a:ext uri="{9D8B030D-6E8A-4147-A177-3AD203B41FA5}">
                      <a16:colId xmlns:a16="http://schemas.microsoft.com/office/drawing/2014/main" val="3138858597"/>
                    </a:ext>
                  </a:extLst>
                </a:gridCol>
                <a:gridCol w="1180305">
                  <a:extLst>
                    <a:ext uri="{9D8B030D-6E8A-4147-A177-3AD203B41FA5}">
                      <a16:colId xmlns:a16="http://schemas.microsoft.com/office/drawing/2014/main" val="290477694"/>
                    </a:ext>
                  </a:extLst>
                </a:gridCol>
                <a:gridCol w="1180305">
                  <a:extLst>
                    <a:ext uri="{9D8B030D-6E8A-4147-A177-3AD203B41FA5}">
                      <a16:colId xmlns:a16="http://schemas.microsoft.com/office/drawing/2014/main" val="3185457749"/>
                    </a:ext>
                  </a:extLst>
                </a:gridCol>
              </a:tblGrid>
              <a:tr h="434782">
                <a:tc>
                  <a:txBody>
                    <a:bodyPr/>
                    <a:lstStyle/>
                    <a:p>
                      <a:pPr algn="l" fontAlgn="b"/>
                      <a:r>
                        <a:rPr lang="de-A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tch I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2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3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4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5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7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2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27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395697"/>
                  </a:ext>
                </a:extLst>
              </a:tr>
              <a:tr h="498043">
                <a:tc>
                  <a:txBody>
                    <a:bodyPr/>
                    <a:lstStyle/>
                    <a:p>
                      <a:pPr algn="l" fontAlgn="b"/>
                      <a:r>
                        <a:rPr lang="de-AT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oreactor</a:t>
                      </a:r>
                      <a:r>
                        <a:rPr lang="de-A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FMB (200L SUB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629003"/>
                  </a:ext>
                </a:extLst>
              </a:tr>
              <a:tr h="498043">
                <a:tc>
                  <a:txBody>
                    <a:bodyPr/>
                    <a:lstStyle/>
                    <a:p>
                      <a:pPr algn="l" fontAlgn="b"/>
                      <a:r>
                        <a:rPr lang="de-AT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nsfection</a:t>
                      </a:r>
                      <a:r>
                        <a:rPr lang="de-A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ix medium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A (DMEM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B (DMEMF12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A (DMEM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A (DMEM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A (DMEM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B (DMEM/F12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A (DMEM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A (DMEM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615425"/>
                  </a:ext>
                </a:extLst>
              </a:tr>
              <a:tr h="434782">
                <a:tc>
                  <a:txBody>
                    <a:bodyPr/>
                    <a:lstStyle/>
                    <a:p>
                      <a:pPr algn="l" fontAlgn="b"/>
                      <a:r>
                        <a:rPr lang="de-A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t </a:t>
                      </a:r>
                      <a:r>
                        <a:rPr lang="de-AT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ition</a:t>
                      </a:r>
                      <a:r>
                        <a:rPr lang="de-A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t </a:t>
                      </a:r>
                      <a:r>
                        <a:rPr lang="de-AT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rvest</a:t>
                      </a:r>
                      <a:endParaRPr lang="de-AT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r>
                        <a:rPr lang="de-AT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</a:t>
                      </a:r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r>
                        <a:rPr lang="de-AT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</a:t>
                      </a:r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9957799"/>
                  </a:ext>
                </a:extLst>
              </a:tr>
              <a:tr h="742294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nts</a:t>
                      </a:r>
                      <a:endParaRPr lang="de-AT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de-AT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de-AT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de-AT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H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ad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and after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nsfection</a:t>
                      </a:r>
                      <a:endParaRPr lang="de-AT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de-AT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de-AT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de-AT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endParaRPr lang="de-AT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445644"/>
                  </a:ext>
                </a:extLst>
              </a:tr>
            </a:tbl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CA393180-8D24-634F-84B9-D8656D4706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– TAK-028 200L Pilot Scale Production (Tox Process)</a:t>
            </a:r>
            <a:endParaRPr lang="de-AT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FEA0A45-347B-722A-2BF9-BB9EBF54336B}"/>
              </a:ext>
            </a:extLst>
          </p:cNvPr>
          <p:cNvSpPr txBox="1"/>
          <p:nvPr/>
        </p:nvSpPr>
        <p:spPr>
          <a:xfrm>
            <a:off x="311150" y="4282677"/>
            <a:ext cx="11569690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/>
              <a:t>Both upstream production lines (Sartorius and Pall SUBs) were used to meet the timelines. </a:t>
            </a:r>
            <a:r>
              <a:rPr lang="en-US" dirty="0">
                <a:sym typeface="Wingdings" panose="05000000000000000000" pitchFamily="2" charset="2"/>
              </a:rPr>
              <a:t> </a:t>
            </a:r>
            <a:r>
              <a:rPr lang="en-US" dirty="0">
                <a:solidFill>
                  <a:srgbClr val="FF0000"/>
                </a:solidFill>
                <a:sym typeface="Wingdings" panose="05000000000000000000" pitchFamily="2" charset="2"/>
              </a:rPr>
              <a:t>impact on yield</a:t>
            </a:r>
            <a:endParaRPr lang="en-US" dirty="0">
              <a:solidFill>
                <a:srgbClr val="FF0000"/>
              </a:solidFill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/>
              <a:t>Evaluation of transfection mix media DMEM low glucose (not yet qualified) and DMEM/F12 Baxter Special (qualified material) </a:t>
            </a:r>
            <a:r>
              <a:rPr lang="en-US" dirty="0">
                <a:sym typeface="Wingdings" panose="05000000000000000000" pitchFamily="2" charset="2"/>
              </a:rPr>
              <a:t> </a:t>
            </a:r>
            <a:r>
              <a:rPr lang="en-US" dirty="0">
                <a:solidFill>
                  <a:srgbClr val="FF0000"/>
                </a:solidFill>
                <a:sym typeface="Wingdings" panose="05000000000000000000" pitchFamily="2" charset="2"/>
              </a:rPr>
              <a:t>impact on yield</a:t>
            </a:r>
            <a:endParaRPr lang="en-US" dirty="0">
              <a:solidFill>
                <a:srgbClr val="FF0000"/>
              </a:solidFill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/>
              <a:t>Evaluation of salt addition at harvest (135 mM NaCl) to improve depth filtration step yield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/>
              <a:t>To reduce impact of filter charge (lot-to-lot variability)</a:t>
            </a:r>
          </a:p>
        </p:txBody>
      </p:sp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4F299F38-68A9-67B8-DD2E-C268D5C2F8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9150587"/>
              </p:ext>
            </p:extLst>
          </p:nvPr>
        </p:nvGraphicFramePr>
        <p:xfrm>
          <a:off x="311150" y="1221106"/>
          <a:ext cx="8028775" cy="2607944"/>
        </p:xfrm>
        <a:graphic>
          <a:graphicData uri="http://schemas.openxmlformats.org/drawingml/2006/table">
            <a:tbl>
              <a:tblPr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127250">
                  <a:extLst>
                    <a:ext uri="{9D8B030D-6E8A-4147-A177-3AD203B41FA5}">
                      <a16:colId xmlns:a16="http://schemas.microsoft.com/office/drawing/2014/main" val="2742795737"/>
                    </a:ext>
                  </a:extLst>
                </a:gridCol>
                <a:gridCol w="1180305">
                  <a:extLst>
                    <a:ext uri="{9D8B030D-6E8A-4147-A177-3AD203B41FA5}">
                      <a16:colId xmlns:a16="http://schemas.microsoft.com/office/drawing/2014/main" val="2406110361"/>
                    </a:ext>
                  </a:extLst>
                </a:gridCol>
                <a:gridCol w="1180305">
                  <a:extLst>
                    <a:ext uri="{9D8B030D-6E8A-4147-A177-3AD203B41FA5}">
                      <a16:colId xmlns:a16="http://schemas.microsoft.com/office/drawing/2014/main" val="1692549505"/>
                    </a:ext>
                  </a:extLst>
                </a:gridCol>
                <a:gridCol w="1180305">
                  <a:extLst>
                    <a:ext uri="{9D8B030D-6E8A-4147-A177-3AD203B41FA5}">
                      <a16:colId xmlns:a16="http://schemas.microsoft.com/office/drawing/2014/main" val="1626778523"/>
                    </a:ext>
                  </a:extLst>
                </a:gridCol>
                <a:gridCol w="1180305">
                  <a:extLst>
                    <a:ext uri="{9D8B030D-6E8A-4147-A177-3AD203B41FA5}">
                      <a16:colId xmlns:a16="http://schemas.microsoft.com/office/drawing/2014/main" val="290477694"/>
                    </a:ext>
                  </a:extLst>
                </a:gridCol>
                <a:gridCol w="1180305">
                  <a:extLst>
                    <a:ext uri="{9D8B030D-6E8A-4147-A177-3AD203B41FA5}">
                      <a16:colId xmlns:a16="http://schemas.microsoft.com/office/drawing/2014/main" val="3185457749"/>
                    </a:ext>
                  </a:extLst>
                </a:gridCol>
              </a:tblGrid>
              <a:tr h="434782">
                <a:tc>
                  <a:txBody>
                    <a:bodyPr/>
                    <a:lstStyle/>
                    <a:p>
                      <a:pPr algn="l" fontAlgn="b"/>
                      <a:r>
                        <a:rPr lang="de-A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tch I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2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4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2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27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395697"/>
                  </a:ext>
                </a:extLst>
              </a:tr>
              <a:tr h="498043">
                <a:tc>
                  <a:txBody>
                    <a:bodyPr/>
                    <a:lstStyle/>
                    <a:p>
                      <a:pPr algn="l" fontAlgn="b"/>
                      <a:r>
                        <a:rPr lang="de-AT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oreactor</a:t>
                      </a:r>
                      <a:r>
                        <a:rPr lang="de-A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FMB (200L SUB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629003"/>
                  </a:ext>
                </a:extLst>
              </a:tr>
              <a:tr h="498043">
                <a:tc>
                  <a:txBody>
                    <a:bodyPr/>
                    <a:lstStyle/>
                    <a:p>
                      <a:pPr algn="l" fontAlgn="b"/>
                      <a:r>
                        <a:rPr lang="de-AT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nsfection</a:t>
                      </a:r>
                      <a:r>
                        <a:rPr lang="de-A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ix medium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A (DMEM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A (DMEM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A (DMEM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A (DMEM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A (DMEM)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615425"/>
                  </a:ext>
                </a:extLst>
              </a:tr>
              <a:tr h="434782">
                <a:tc>
                  <a:txBody>
                    <a:bodyPr/>
                    <a:lstStyle/>
                    <a:p>
                      <a:pPr algn="l" fontAlgn="b"/>
                      <a:r>
                        <a:rPr lang="de-A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t </a:t>
                      </a:r>
                      <a:r>
                        <a:rPr lang="de-AT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ition</a:t>
                      </a:r>
                      <a:r>
                        <a:rPr lang="de-A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t </a:t>
                      </a:r>
                      <a:r>
                        <a:rPr lang="de-AT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rvest</a:t>
                      </a:r>
                      <a:endParaRPr lang="de-AT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r>
                        <a:rPr lang="de-AT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</a:t>
                      </a:r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r>
                        <a:rPr lang="de-AT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</a:t>
                      </a:r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9957799"/>
                  </a:ext>
                </a:extLst>
              </a:tr>
              <a:tr h="742294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ents</a:t>
                      </a:r>
                      <a:endParaRPr lang="de-AT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de-AT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de-AT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de-AT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de-AT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endParaRPr lang="de-AT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4456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042766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D6EDAF-C959-4383-9972-BC3B54E931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559A8B2-AAFD-4B31-A51A-42B638C67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ctor Genome Yields (IDT </a:t>
            </a:r>
            <a:r>
              <a:rPr lang="en-US" dirty="0" err="1"/>
              <a:t>ddPCR</a:t>
            </a:r>
            <a:r>
              <a:rPr lang="en-US" dirty="0"/>
              <a:t>)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9A6B83-4E10-4E30-8433-279F2A766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5</a:t>
            </a:fld>
            <a:endParaRPr lang="ja-JP" alt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1E1247-1DCD-468F-BA41-C9C9D9895D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AT"/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155B4BFB-A5DF-A4F4-4B18-187F5AB959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1120274"/>
              </p:ext>
            </p:extLst>
          </p:nvPr>
        </p:nvGraphicFramePr>
        <p:xfrm>
          <a:off x="606078" y="906525"/>
          <a:ext cx="7307495" cy="803497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860090">
                  <a:extLst>
                    <a:ext uri="{9D8B030D-6E8A-4147-A177-3AD203B41FA5}">
                      <a16:colId xmlns:a16="http://schemas.microsoft.com/office/drawing/2014/main" val="2742795737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2406110361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1692549505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1626778523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290477694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3185457749"/>
                    </a:ext>
                  </a:extLst>
                </a:gridCol>
              </a:tblGrid>
              <a:tr h="269103">
                <a:tc>
                  <a:txBody>
                    <a:bodyPr/>
                    <a:lstStyle/>
                    <a:p>
                      <a:pPr algn="l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tch I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2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4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2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27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395697"/>
                  </a:ext>
                </a:extLst>
              </a:tr>
              <a:tr h="26719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oreactor</a:t>
                      </a:r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FMB (200L SUB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629003"/>
                  </a:ext>
                </a:extLst>
              </a:tr>
              <a:tr h="26719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t </a:t>
                      </a:r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ition</a:t>
                      </a:r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t </a:t>
                      </a:r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rvest</a:t>
                      </a:r>
                      <a:endParaRPr lang="de-AT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r>
                        <a:rPr lang="de-A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</a:t>
                      </a:r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r>
                        <a:rPr lang="de-A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</a:t>
                      </a:r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9957799"/>
                  </a:ext>
                </a:extLst>
              </a:tr>
            </a:tbl>
          </a:graphicData>
        </a:graphic>
      </p:graphicFrame>
      <p:sp>
        <p:nvSpPr>
          <p:cNvPr id="18" name="Textfeld 17">
            <a:extLst>
              <a:ext uri="{FF2B5EF4-FFF2-40B4-BE49-F238E27FC236}">
                <a16:creationId xmlns:a16="http://schemas.microsoft.com/office/drawing/2014/main" id="{9A1241F2-BD73-3B1E-A7BC-150E04E97263}"/>
              </a:ext>
            </a:extLst>
          </p:cNvPr>
          <p:cNvSpPr txBox="1"/>
          <p:nvPr/>
        </p:nvSpPr>
        <p:spPr>
          <a:xfrm>
            <a:off x="542641" y="5692801"/>
            <a:ext cx="10353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No impact of NaCl addition on total vg yield (IDT </a:t>
            </a:r>
            <a:r>
              <a:rPr lang="en-US" dirty="0" err="1"/>
              <a:t>ddPCR</a:t>
            </a:r>
            <a:r>
              <a:rPr lang="en-US" dirty="0"/>
              <a:t>) visible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7FC8757-219C-B276-DDB7-04ABE44EE2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641" y="2246615"/>
            <a:ext cx="5400000" cy="3241829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3EF7F15-AECE-8F94-4653-E54FC69703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9361" y="2246615"/>
            <a:ext cx="5400000" cy="3241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887624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D6EDAF-C959-4383-9972-BC3B54E931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559A8B2-AAFD-4B31-A51A-42B638C67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urities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9A6B83-4E10-4E30-8433-279F2A766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6</a:t>
            </a:fld>
            <a:endParaRPr lang="ja-JP" alt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1E1247-1DCD-468F-BA41-C9C9D9895D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AT"/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155B4BFB-A5DF-A4F4-4B18-187F5AB959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0739864"/>
              </p:ext>
            </p:extLst>
          </p:nvPr>
        </p:nvGraphicFramePr>
        <p:xfrm>
          <a:off x="606078" y="859981"/>
          <a:ext cx="7307495" cy="803497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860090">
                  <a:extLst>
                    <a:ext uri="{9D8B030D-6E8A-4147-A177-3AD203B41FA5}">
                      <a16:colId xmlns:a16="http://schemas.microsoft.com/office/drawing/2014/main" val="2742795737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2406110361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1692549505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1626778523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290477694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3185457749"/>
                    </a:ext>
                  </a:extLst>
                </a:gridCol>
              </a:tblGrid>
              <a:tr h="269103">
                <a:tc>
                  <a:txBody>
                    <a:bodyPr/>
                    <a:lstStyle/>
                    <a:p>
                      <a:pPr algn="l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tch I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2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4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2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27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395697"/>
                  </a:ext>
                </a:extLst>
              </a:tr>
              <a:tr h="26719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oreactor</a:t>
                      </a:r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FMB (200L SUB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629003"/>
                  </a:ext>
                </a:extLst>
              </a:tr>
              <a:tr h="26719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t </a:t>
                      </a:r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ition</a:t>
                      </a:r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t </a:t>
                      </a:r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rvest</a:t>
                      </a:r>
                      <a:endParaRPr lang="de-AT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r>
                        <a:rPr lang="de-A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</a:t>
                      </a:r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r>
                        <a:rPr lang="de-A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</a:t>
                      </a:r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9957799"/>
                  </a:ext>
                </a:extLst>
              </a:tr>
            </a:tbl>
          </a:graphicData>
        </a:graphic>
      </p:graphicFrame>
      <p:sp>
        <p:nvSpPr>
          <p:cNvPr id="18" name="Textfeld 17">
            <a:extLst>
              <a:ext uri="{FF2B5EF4-FFF2-40B4-BE49-F238E27FC236}">
                <a16:creationId xmlns:a16="http://schemas.microsoft.com/office/drawing/2014/main" id="{9A1241F2-BD73-3B1E-A7BC-150E04E97263}"/>
              </a:ext>
            </a:extLst>
          </p:cNvPr>
          <p:cNvSpPr txBox="1"/>
          <p:nvPr/>
        </p:nvSpPr>
        <p:spPr>
          <a:xfrm>
            <a:off x="458614" y="5472152"/>
            <a:ext cx="10353016" cy="8803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/>
              <a:t>Similar amounts of residual HEK-HCP impurities with and w/o  NaCl additio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/>
              <a:t>Potentially, slightly higher amounts of residual HEK-DNA with NaCl additio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DDE8BF2-9B3A-8A2A-2B59-FEA90564BA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441" y="2066038"/>
            <a:ext cx="5939543" cy="3237257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A1F3927-CA1F-7D78-9182-8B1C9076BD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066038"/>
            <a:ext cx="5944115" cy="3237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52229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D6EDAF-C959-4383-9972-BC3B54E931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559A8B2-AAFD-4B31-A51A-42B638C67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ltracentrifugation</a:t>
            </a:r>
            <a:r>
              <a:rPr lang="de-DE" dirty="0"/>
              <a:t> (</a:t>
            </a:r>
            <a:r>
              <a:rPr lang="en-US" dirty="0"/>
              <a:t>UCE)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9A6B83-4E10-4E30-8433-279F2A766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7</a:t>
            </a:fld>
            <a:endParaRPr lang="ja-JP" alt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1E1247-1DCD-468F-BA41-C9C9D9895D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AT"/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155B4BFB-A5DF-A4F4-4B18-187F5AB959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8028189"/>
              </p:ext>
            </p:extLst>
          </p:nvPr>
        </p:nvGraphicFramePr>
        <p:xfrm>
          <a:off x="606078" y="867850"/>
          <a:ext cx="7307495" cy="803497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860090">
                  <a:extLst>
                    <a:ext uri="{9D8B030D-6E8A-4147-A177-3AD203B41FA5}">
                      <a16:colId xmlns:a16="http://schemas.microsoft.com/office/drawing/2014/main" val="2742795737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2406110361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1692549505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1626778523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290477694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3185457749"/>
                    </a:ext>
                  </a:extLst>
                </a:gridCol>
              </a:tblGrid>
              <a:tr h="269103">
                <a:tc>
                  <a:txBody>
                    <a:bodyPr/>
                    <a:lstStyle/>
                    <a:p>
                      <a:pPr algn="l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tch I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2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4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2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27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395697"/>
                  </a:ext>
                </a:extLst>
              </a:tr>
              <a:tr h="26719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oreactor</a:t>
                      </a:r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FMB (200L SUB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629003"/>
                  </a:ext>
                </a:extLst>
              </a:tr>
              <a:tr h="26719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t </a:t>
                      </a:r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ition</a:t>
                      </a:r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t </a:t>
                      </a:r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rvest</a:t>
                      </a:r>
                      <a:endParaRPr lang="de-AT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r>
                        <a:rPr lang="de-A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</a:t>
                      </a:r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r>
                        <a:rPr lang="de-A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</a:t>
                      </a:r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9957799"/>
                  </a:ext>
                </a:extLst>
              </a:tr>
            </a:tbl>
          </a:graphicData>
        </a:graphic>
      </p:graphicFrame>
      <p:sp>
        <p:nvSpPr>
          <p:cNvPr id="18" name="Textfeld 17">
            <a:extLst>
              <a:ext uri="{FF2B5EF4-FFF2-40B4-BE49-F238E27FC236}">
                <a16:creationId xmlns:a16="http://schemas.microsoft.com/office/drawing/2014/main" id="{9A1241F2-BD73-3B1E-A7BC-150E04E97263}"/>
              </a:ext>
            </a:extLst>
          </p:cNvPr>
          <p:cNvSpPr txBox="1"/>
          <p:nvPr/>
        </p:nvSpPr>
        <p:spPr>
          <a:xfrm>
            <a:off x="542641" y="6047518"/>
            <a:ext cx="51034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Pall runs: Shift to more full capsids with NaCl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18126AA3-3FE8-4405-A2BB-5A7B089183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078" y="1837315"/>
            <a:ext cx="5040000" cy="4032853"/>
          </a:xfrm>
          <a:prstGeom prst="rect">
            <a:avLst/>
          </a:prstGeom>
          <a:ln w="28575">
            <a:solidFill>
              <a:srgbClr val="0070C0"/>
            </a:solidFill>
          </a:ln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FA152EE8-9A2F-57F8-1887-5990DA679C1F}"/>
              </a:ext>
            </a:extLst>
          </p:cNvPr>
          <p:cNvSpPr txBox="1"/>
          <p:nvPr/>
        </p:nvSpPr>
        <p:spPr>
          <a:xfrm>
            <a:off x="6032279" y="6046661"/>
            <a:ext cx="51034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Sartorius runs: Higher peak with NaCl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2C465C15-7C47-798E-B8CC-FC8EA829E6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3997" y="1837314"/>
            <a:ext cx="5040000" cy="4032853"/>
          </a:xfrm>
          <a:prstGeom prst="rect">
            <a:avLst/>
          </a:prstGeom>
          <a:ln w="28575">
            <a:solidFill>
              <a:srgbClr val="00B050"/>
            </a:solidFill>
          </a:ln>
        </p:spPr>
      </p:pic>
    </p:spTree>
    <p:extLst>
      <p:ext uri="{BB962C8B-B14F-4D97-AF65-F5344CB8AC3E}">
        <p14:creationId xmlns:p14="http://schemas.microsoft.com/office/powerpoint/2010/main" val="34525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0D6EDAF-C959-4383-9972-BC3B54E931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559A8B2-AAFD-4B31-A51A-42B638C67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ltracentrifugation</a:t>
            </a:r>
            <a:r>
              <a:rPr lang="de-DE" dirty="0"/>
              <a:t> (</a:t>
            </a:r>
            <a:r>
              <a:rPr lang="en-US" dirty="0"/>
              <a:t>UCE)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9A6B83-4E10-4E30-8433-279F2A766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8</a:t>
            </a:fld>
            <a:endParaRPr lang="ja-JP" alt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1E1247-1DCD-468F-BA41-C9C9D9895D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AT"/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155B4BFB-A5DF-A4F4-4B18-187F5AB959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1989678"/>
              </p:ext>
            </p:extLst>
          </p:nvPr>
        </p:nvGraphicFramePr>
        <p:xfrm>
          <a:off x="606078" y="847406"/>
          <a:ext cx="7307495" cy="803497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860090">
                  <a:extLst>
                    <a:ext uri="{9D8B030D-6E8A-4147-A177-3AD203B41FA5}">
                      <a16:colId xmlns:a16="http://schemas.microsoft.com/office/drawing/2014/main" val="2742795737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2406110361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1692549505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1626778523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290477694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3185457749"/>
                    </a:ext>
                  </a:extLst>
                </a:gridCol>
              </a:tblGrid>
              <a:tr h="269103">
                <a:tc>
                  <a:txBody>
                    <a:bodyPr/>
                    <a:lstStyle/>
                    <a:p>
                      <a:pPr algn="l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tch I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2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4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2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27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395697"/>
                  </a:ext>
                </a:extLst>
              </a:tr>
              <a:tr h="26719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oreactor</a:t>
                      </a:r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FMB (200L SUB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629003"/>
                  </a:ext>
                </a:extLst>
              </a:tr>
              <a:tr h="26719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t </a:t>
                      </a:r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ition</a:t>
                      </a:r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t </a:t>
                      </a:r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rvest</a:t>
                      </a:r>
                      <a:endParaRPr lang="de-AT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r>
                        <a:rPr lang="de-A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</a:t>
                      </a:r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r>
                        <a:rPr lang="de-A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</a:t>
                      </a:r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9957799"/>
                  </a:ext>
                </a:extLst>
              </a:tr>
            </a:tbl>
          </a:graphicData>
        </a:graphic>
      </p:graphicFrame>
      <p:sp>
        <p:nvSpPr>
          <p:cNvPr id="22" name="Textfeld 21">
            <a:extLst>
              <a:ext uri="{FF2B5EF4-FFF2-40B4-BE49-F238E27FC236}">
                <a16:creationId xmlns:a16="http://schemas.microsoft.com/office/drawing/2014/main" id="{FA152EE8-9A2F-57F8-1887-5990DA679C1F}"/>
              </a:ext>
            </a:extLst>
          </p:cNvPr>
          <p:cNvSpPr txBox="1"/>
          <p:nvPr/>
        </p:nvSpPr>
        <p:spPr>
          <a:xfrm>
            <a:off x="6000560" y="5958576"/>
            <a:ext cx="51034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Sartorius runs: More empty capsids with NaCl?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F0E720C-3CF3-50B9-2815-758EEF2168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078" y="1824984"/>
            <a:ext cx="5040000" cy="4032853"/>
          </a:xfrm>
          <a:prstGeom prst="rect">
            <a:avLst/>
          </a:prstGeom>
          <a:ln w="28575">
            <a:solidFill>
              <a:srgbClr val="0070C0"/>
            </a:solidFill>
          </a:ln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47593E18-577D-2987-7323-447A834CBE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2279" y="1824984"/>
            <a:ext cx="5040000" cy="4032853"/>
          </a:xfrm>
          <a:prstGeom prst="rect">
            <a:avLst/>
          </a:prstGeom>
          <a:ln w="28575">
            <a:solidFill>
              <a:srgbClr val="00B050"/>
            </a:solidFill>
          </a:ln>
        </p:spPr>
      </p:pic>
    </p:spTree>
    <p:extLst>
      <p:ext uri="{BB962C8B-B14F-4D97-AF65-F5344CB8AC3E}">
        <p14:creationId xmlns:p14="http://schemas.microsoft.com/office/powerpoint/2010/main" val="2047447730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F559A8B2-AAFD-4B31-A51A-42B638C67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ltracentrifugation</a:t>
            </a:r>
            <a:r>
              <a:rPr lang="de-DE" dirty="0"/>
              <a:t> (</a:t>
            </a:r>
            <a:r>
              <a:rPr lang="en-US" dirty="0"/>
              <a:t>UCE) – AUC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9A6B83-4E10-4E30-8433-279F2A766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9</a:t>
            </a:fld>
            <a:endParaRPr lang="ja-JP" alt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1E1247-1DCD-468F-BA41-C9C9D9895D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AT"/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155B4BFB-A5DF-A4F4-4B18-187F5AB959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7589253"/>
              </p:ext>
            </p:extLst>
          </p:nvPr>
        </p:nvGraphicFramePr>
        <p:xfrm>
          <a:off x="606078" y="876206"/>
          <a:ext cx="7307495" cy="803497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860090">
                  <a:extLst>
                    <a:ext uri="{9D8B030D-6E8A-4147-A177-3AD203B41FA5}">
                      <a16:colId xmlns:a16="http://schemas.microsoft.com/office/drawing/2014/main" val="2742795737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2406110361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1692549505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1626778523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290477694"/>
                    </a:ext>
                  </a:extLst>
                </a:gridCol>
                <a:gridCol w="1089481">
                  <a:extLst>
                    <a:ext uri="{9D8B030D-6E8A-4147-A177-3AD203B41FA5}">
                      <a16:colId xmlns:a16="http://schemas.microsoft.com/office/drawing/2014/main" val="3185457749"/>
                    </a:ext>
                  </a:extLst>
                </a:gridCol>
              </a:tblGrid>
              <a:tr h="269103">
                <a:tc>
                  <a:txBody>
                    <a:bodyPr/>
                    <a:lstStyle/>
                    <a:p>
                      <a:pPr algn="l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tch I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2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4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1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26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FB04_2227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395697"/>
                  </a:ext>
                </a:extLst>
              </a:tr>
              <a:tr h="26719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oreactor</a:t>
                      </a:r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FMB (200L SUB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torius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629003"/>
                  </a:ext>
                </a:extLst>
              </a:tr>
              <a:tr h="26719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t </a:t>
                      </a:r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ition</a:t>
                      </a:r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t </a:t>
                      </a:r>
                      <a:r>
                        <a:rPr lang="de-AT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rvest</a:t>
                      </a:r>
                      <a:endParaRPr lang="de-AT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/o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r>
                        <a:rPr lang="de-A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</a:t>
                      </a:r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</a:t>
                      </a:r>
                      <a:r>
                        <a:rPr lang="de-A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M</a:t>
                      </a:r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Cl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9957799"/>
                  </a:ext>
                </a:extLst>
              </a:tr>
            </a:tbl>
          </a:graphicData>
        </a:graphic>
      </p:graphicFrame>
      <p:sp>
        <p:nvSpPr>
          <p:cNvPr id="22" name="Textfeld 21">
            <a:extLst>
              <a:ext uri="{FF2B5EF4-FFF2-40B4-BE49-F238E27FC236}">
                <a16:creationId xmlns:a16="http://schemas.microsoft.com/office/drawing/2014/main" id="{FA152EE8-9A2F-57F8-1887-5990DA679C1F}"/>
              </a:ext>
            </a:extLst>
          </p:cNvPr>
          <p:cNvSpPr txBox="1"/>
          <p:nvPr/>
        </p:nvSpPr>
        <p:spPr>
          <a:xfrm>
            <a:off x="656455" y="5360755"/>
            <a:ext cx="6233847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/>
              <a:t>AUC does not reveal a clearer picture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/>
              <a:t>Higher percentage of aggregates/overfilled capsids with NaCl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B7C4AAC-BBD9-CD21-E632-A5D2B4FD0B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0302" y="1872956"/>
            <a:ext cx="5137240" cy="3422896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12A5C68C-30F2-9AA6-7164-923D88353B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765" y="1872960"/>
            <a:ext cx="3240000" cy="2592549"/>
          </a:xfrm>
          <a:prstGeom prst="rect">
            <a:avLst/>
          </a:prstGeom>
          <a:ln w="28575">
            <a:solidFill>
              <a:srgbClr val="0070C0"/>
            </a:solidFill>
          </a:ln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A885D7F4-58DA-CD71-A3D4-599537110B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3534" y="1872960"/>
            <a:ext cx="3312000" cy="2650161"/>
          </a:xfrm>
          <a:prstGeom prst="rect">
            <a:avLst/>
          </a:prstGeom>
          <a:ln w="28575">
            <a:solidFill>
              <a:srgbClr val="00B050"/>
            </a:solidFill>
          </a:ln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F0ADBAB1-730D-C7B6-5DE8-7E942304073A}"/>
              </a:ext>
            </a:extLst>
          </p:cNvPr>
          <p:cNvSpPr txBox="1"/>
          <p:nvPr/>
        </p:nvSpPr>
        <p:spPr>
          <a:xfrm>
            <a:off x="7519146" y="5343649"/>
            <a:ext cx="32695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0070C0"/>
                </a:solidFill>
              </a:rPr>
              <a:t>PFB04_2212 (Pall): not determin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E8A52B2-4848-311E-AF0C-FC30B7B9A255}"/>
              </a:ext>
            </a:extLst>
          </p:cNvPr>
          <p:cNvSpPr/>
          <p:nvPr/>
        </p:nvSpPr>
        <p:spPr>
          <a:xfrm>
            <a:off x="7519146" y="3238500"/>
            <a:ext cx="2120153" cy="2065905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endParaRPr kumimoji="1" lang="de-AT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0DB7379-3DC5-48E2-8601-3C878E38F17E}"/>
              </a:ext>
            </a:extLst>
          </p:cNvPr>
          <p:cNvSpPr/>
          <p:nvPr/>
        </p:nvSpPr>
        <p:spPr>
          <a:xfrm>
            <a:off x="10919193" y="3238499"/>
            <a:ext cx="968008" cy="2074458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endParaRPr kumimoji="1" lang="de-AT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6DE22B-8A21-710A-6ECC-17DA537813EE}"/>
              </a:ext>
            </a:extLst>
          </p:cNvPr>
          <p:cNvSpPr/>
          <p:nvPr/>
        </p:nvSpPr>
        <p:spPr>
          <a:xfrm>
            <a:off x="9795242" y="3238499"/>
            <a:ext cx="968008" cy="2074459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endParaRPr kumimoji="1" lang="de-AT" dirty="0"/>
          </a:p>
        </p:txBody>
      </p:sp>
      <p:sp>
        <p:nvSpPr>
          <p:cNvPr id="6" name="Geschweifte Klammer links 5">
            <a:extLst>
              <a:ext uri="{FF2B5EF4-FFF2-40B4-BE49-F238E27FC236}">
                <a16:creationId xmlns:a16="http://schemas.microsoft.com/office/drawing/2014/main" id="{3B5FB1F2-FCC7-2F25-C59C-42BFA7A49178}"/>
              </a:ext>
            </a:extLst>
          </p:cNvPr>
          <p:cNvSpPr/>
          <p:nvPr/>
        </p:nvSpPr>
        <p:spPr>
          <a:xfrm rot="16200000">
            <a:off x="8477229" y="4635803"/>
            <a:ext cx="203988" cy="2120153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AB7AEF7-F26C-119A-2448-6CAAB5D62B05}"/>
              </a:ext>
            </a:extLst>
          </p:cNvPr>
          <p:cNvSpPr txBox="1"/>
          <p:nvPr/>
        </p:nvSpPr>
        <p:spPr>
          <a:xfrm>
            <a:off x="8049015" y="5808690"/>
            <a:ext cx="1104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/o NaCl</a:t>
            </a:r>
            <a:endParaRPr lang="de-AT" dirty="0"/>
          </a:p>
        </p:txBody>
      </p:sp>
      <p:sp>
        <p:nvSpPr>
          <p:cNvPr id="16" name="Geschweifte Klammer links 15">
            <a:extLst>
              <a:ext uri="{FF2B5EF4-FFF2-40B4-BE49-F238E27FC236}">
                <a16:creationId xmlns:a16="http://schemas.microsoft.com/office/drawing/2014/main" id="{F0F0EA34-1E6A-837B-7FCB-89EDF898CE95}"/>
              </a:ext>
            </a:extLst>
          </p:cNvPr>
          <p:cNvSpPr/>
          <p:nvPr/>
        </p:nvSpPr>
        <p:spPr>
          <a:xfrm rot="16200000">
            <a:off x="10753325" y="4633044"/>
            <a:ext cx="203988" cy="2120153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EC6BEAE-D118-8EF0-6C15-E39D6A0F1E20}"/>
              </a:ext>
            </a:extLst>
          </p:cNvPr>
          <p:cNvSpPr txBox="1"/>
          <p:nvPr/>
        </p:nvSpPr>
        <p:spPr>
          <a:xfrm>
            <a:off x="10366743" y="5807166"/>
            <a:ext cx="1104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with</a:t>
            </a:r>
            <a:r>
              <a:rPr lang="de-DE" dirty="0"/>
              <a:t> NaCl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15561360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s2wmrLno._6pCV7LnEig"/>
</p:tagLst>
</file>

<file path=ppt/theme/theme1.xml><?xml version="1.0" encoding="utf-8"?>
<a:theme xmlns:a="http://schemas.openxmlformats.org/drawingml/2006/main" name="Takeda Slide Master">
  <a:themeElements>
    <a:clrScheme name="Takeda 2021">
      <a:dk1>
        <a:srgbClr val="34373F"/>
      </a:dk1>
      <a:lt1>
        <a:srgbClr val="FFFFFF"/>
      </a:lt1>
      <a:dk2>
        <a:srgbClr val="34373F"/>
      </a:dk2>
      <a:lt2>
        <a:srgbClr val="FFFFFF"/>
      </a:lt2>
      <a:accent1>
        <a:srgbClr val="E1242A"/>
      </a:accent1>
      <a:accent2>
        <a:srgbClr val="891515"/>
      </a:accent2>
      <a:accent3>
        <a:srgbClr val="34373F"/>
      </a:accent3>
      <a:accent4>
        <a:srgbClr val="A1A4AC"/>
      </a:accent4>
      <a:accent5>
        <a:srgbClr val="EDF2F4"/>
      </a:accent5>
      <a:accent6>
        <a:srgbClr val="FFFFFF"/>
      </a:accent6>
      <a:hlink>
        <a:srgbClr val="34373F"/>
      </a:hlink>
      <a:folHlink>
        <a:srgbClr val="34373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8575">
          <a:noFill/>
        </a:ln>
      </a:spPr>
      <a:bodyPr wrap="none" rtlCol="0" anchor="ctr"/>
      <a:lstStyle>
        <a:defPPr algn="ctr">
          <a:defRPr kumimoji="1" dirty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CC671639-4675-498F-8406-CC38EFAC0128}" vid="{D2ECA16B-CEDF-4EB1-A5E5-09346E461B1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119326-7aa1-421d-84f5-2a386c7340a6">
      <Terms xmlns="http://schemas.microsoft.com/office/infopath/2007/PartnerControls"/>
    </lcf76f155ced4ddcb4097134ff3c332f>
    <TaxCatchAll xmlns="10d53ab5-bbd4-4997-834f-929f901014a4" xsi:nil="true"/>
    <Reviewed xmlns="2d119326-7aa1-421d-84f5-2a386c7340a6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AFFB33E5607245A88E52CC05D3AE78" ma:contentTypeVersion="20" ma:contentTypeDescription="Create a new document." ma:contentTypeScope="" ma:versionID="62e9540455875604bad91287206e7415">
  <xsd:schema xmlns:xsd="http://www.w3.org/2001/XMLSchema" xmlns:xs="http://www.w3.org/2001/XMLSchema" xmlns:p="http://schemas.microsoft.com/office/2006/metadata/properties" xmlns:ns2="2d119326-7aa1-421d-84f5-2a386c7340a6" xmlns:ns3="10d53ab5-bbd4-4997-834f-929f901014a4" targetNamespace="http://schemas.microsoft.com/office/2006/metadata/properties" ma:root="true" ma:fieldsID="91a25ed321b6d160a1d2aee16d621ae1" ns2:_="" ns3:_="">
    <xsd:import namespace="2d119326-7aa1-421d-84f5-2a386c7340a6"/>
    <xsd:import namespace="10d53ab5-bbd4-4997-834f-929f901014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Reviewed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119326-7aa1-421d-84f5-2a386c7340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749a35e-9b4c-41a3-9e24-d57cd2885fd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Reviewed" ma:index="24" nillable="true" ma:displayName="Reviewed" ma:format="Dropdown" ma:internalName="Reviewed">
      <xsd:simpleType>
        <xsd:restriction base="dms:Choice">
          <xsd:enumeration value="Reviewed"/>
          <xsd:enumeration value="published"/>
        </xsd:restriction>
      </xsd:simple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d53ab5-bbd4-4997-834f-929f901014a4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ae71011b-a531-4292-a701-e347e310dba9}" ma:internalName="TaxCatchAll" ma:showField="CatchAllData" ma:web="10d53ab5-bbd4-4997-834f-929f901014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64AA88-9994-4773-9B46-6F25641ADC01}">
  <ds:schemaRefs>
    <ds:schemaRef ds:uri="c35d9128-0199-448a-8954-7c37adaffeb5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a6f08481-6c03-4d4f-8c55-15386435109c"/>
    <ds:schemaRef ds:uri="http://www.w3.org/XML/1998/namespace"/>
    <ds:schemaRef ds:uri="http://purl.org/dc/elements/1.1/"/>
    <ds:schemaRef ds:uri="2d119326-7aa1-421d-84f5-2a386c7340a6"/>
    <ds:schemaRef ds:uri="10d53ab5-bbd4-4997-834f-929f901014a4"/>
  </ds:schemaRefs>
</ds:datastoreItem>
</file>

<file path=customXml/itemProps2.xml><?xml version="1.0" encoding="utf-8"?>
<ds:datastoreItem xmlns:ds="http://schemas.openxmlformats.org/officeDocument/2006/customXml" ds:itemID="{F77B1777-CB78-44AD-85E6-4DED838DDEE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d119326-7aa1-421d-84f5-2a386c7340a6"/>
    <ds:schemaRef ds:uri="10d53ab5-bbd4-4997-834f-929f901014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CC3BB52-6112-4A90-B1AF-BB2849B5056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37</Words>
  <Application>Microsoft Office PowerPoint</Application>
  <PresentationFormat>Breitbild</PresentationFormat>
  <Paragraphs>267</Paragraphs>
  <Slides>13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4" baseType="lpstr">
      <vt:lpstr>Takeda Slide Master</vt:lpstr>
      <vt:lpstr>Fabry GT – NaCl addition at harvest</vt:lpstr>
      <vt:lpstr>Background – TAK-754</vt:lpstr>
      <vt:lpstr>Background – Fabry GT NHP Production</vt:lpstr>
      <vt:lpstr>Overview – TAK-028 200L Pilot Scale Production (Tox Process)</vt:lpstr>
      <vt:lpstr>Vector Genome Yields (IDT ddPCR)</vt:lpstr>
      <vt:lpstr>Impurities</vt:lpstr>
      <vt:lpstr>Ultracentrifugation (UCE)</vt:lpstr>
      <vt:lpstr>Ultracentrifugation (UCE)</vt:lpstr>
      <vt:lpstr>Ultracentrifugation (UCE) – AUC</vt:lpstr>
      <vt:lpstr>BDS – Vector Genome Yields</vt:lpstr>
      <vt:lpstr>Harvest – Step Yields</vt:lpstr>
      <vt:lpstr>Conclus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keda  PowerPoint Template</dc:title>
  <dc:subject/>
  <dc:creator>Maccani, Andreas</dc:creator>
  <cp:keywords/>
  <dc:description/>
  <cp:lastModifiedBy>Maccani, Andreas</cp:lastModifiedBy>
  <cp:revision>150</cp:revision>
  <dcterms:created xsi:type="dcterms:W3CDTF">2022-07-29T10:58:28Z</dcterms:created>
  <dcterms:modified xsi:type="dcterms:W3CDTF">2024-03-11T13:52:0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BAFFB33E5607245A88E52CC05D3AE78</vt:lpwstr>
  </property>
</Properties>
</file>